
<file path=[Content_Types].xml><?xml version="1.0" encoding="utf-8"?>
<Types xmlns="http://schemas.openxmlformats.org/package/2006/content-types">
  <Default Extension="tmp" ContentType="image/png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10"/>
  </p:notesMasterIdLst>
  <p:sldIdLst>
    <p:sldId id="263" r:id="rId2"/>
    <p:sldId id="270" r:id="rId3"/>
    <p:sldId id="286" r:id="rId4"/>
    <p:sldId id="264" r:id="rId5"/>
    <p:sldId id="288" r:id="rId6"/>
    <p:sldId id="289" r:id="rId7"/>
    <p:sldId id="290" r:id="rId8"/>
    <p:sldId id="287" r:id="rId9"/>
  </p:sldIdLst>
  <p:sldSz cx="9144000" cy="6858000" type="screen4x3"/>
  <p:notesSz cx="6794500" cy="99314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84" autoAdjust="0"/>
    <p:restoredTop sz="94660"/>
  </p:normalViewPr>
  <p:slideViewPr>
    <p:cSldViewPr>
      <p:cViewPr varScale="1">
        <p:scale>
          <a:sx n="87" d="100"/>
          <a:sy n="87" d="100"/>
        </p:scale>
        <p:origin x="206" y="6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EB2F05-8D76-4F64-A03A-D8338D566278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52CBB-B444-46D6-8660-4D3CB9F3A36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462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0919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3983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0008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400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3679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2155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6245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699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2146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57986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7306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55000">
              <a:schemeClr val="bg1"/>
            </a:gs>
            <a:gs pos="100000">
              <a:schemeClr val="accent4">
                <a:lumMod val="40000"/>
                <a:lumOff val="6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CF443-B7E9-4944-B73F-344A96506313}" type="datetimeFigureOut">
              <a:rPr lang="fr-FR" smtClean="0"/>
              <a:t>27/09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E5AC22-C2CF-4BF3-97F5-E9ACCF7D083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89128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tm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2.tmp"/><Relationship Id="rId7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gif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7" Type="http://schemas.openxmlformats.org/officeDocument/2006/relationships/image" Target="../media/image1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10.JP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image" Target="../media/image2.tmp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image" Target="../media/image1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slideLayout" Target="../slideLayouts/slideLayout1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tags" Target="../tags/tag102.xml"/><Relationship Id="rId39" Type="http://schemas.openxmlformats.org/officeDocument/2006/relationships/tags" Target="../tags/tag115.xml"/><Relationship Id="rId21" Type="http://schemas.openxmlformats.org/officeDocument/2006/relationships/tags" Target="../tags/tag97.xml"/><Relationship Id="rId34" Type="http://schemas.openxmlformats.org/officeDocument/2006/relationships/tags" Target="../tags/tag110.xml"/><Relationship Id="rId42" Type="http://schemas.openxmlformats.org/officeDocument/2006/relationships/tags" Target="../tags/tag118.xml"/><Relationship Id="rId47" Type="http://schemas.openxmlformats.org/officeDocument/2006/relationships/tags" Target="../tags/tag123.xml"/><Relationship Id="rId50" Type="http://schemas.openxmlformats.org/officeDocument/2006/relationships/tags" Target="../tags/tag126.xml"/><Relationship Id="rId55" Type="http://schemas.openxmlformats.org/officeDocument/2006/relationships/tags" Target="../tags/tag131.xml"/><Relationship Id="rId63" Type="http://schemas.openxmlformats.org/officeDocument/2006/relationships/tags" Target="../tags/tag139.xml"/><Relationship Id="rId68" Type="http://schemas.openxmlformats.org/officeDocument/2006/relationships/tags" Target="../tags/tag144.xml"/><Relationship Id="rId76" Type="http://schemas.openxmlformats.org/officeDocument/2006/relationships/tags" Target="../tags/tag152.xml"/><Relationship Id="rId7" Type="http://schemas.openxmlformats.org/officeDocument/2006/relationships/tags" Target="../tags/tag83.xml"/><Relationship Id="rId71" Type="http://schemas.openxmlformats.org/officeDocument/2006/relationships/tags" Target="../tags/tag147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9" Type="http://schemas.openxmlformats.org/officeDocument/2006/relationships/tags" Target="../tags/tag105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tags" Target="../tags/tag108.xml"/><Relationship Id="rId37" Type="http://schemas.openxmlformats.org/officeDocument/2006/relationships/tags" Target="../tags/tag113.xml"/><Relationship Id="rId40" Type="http://schemas.openxmlformats.org/officeDocument/2006/relationships/tags" Target="../tags/tag116.xml"/><Relationship Id="rId45" Type="http://schemas.openxmlformats.org/officeDocument/2006/relationships/tags" Target="../tags/tag121.xml"/><Relationship Id="rId53" Type="http://schemas.openxmlformats.org/officeDocument/2006/relationships/tags" Target="../tags/tag129.xml"/><Relationship Id="rId58" Type="http://schemas.openxmlformats.org/officeDocument/2006/relationships/tags" Target="../tags/tag134.xml"/><Relationship Id="rId66" Type="http://schemas.openxmlformats.org/officeDocument/2006/relationships/tags" Target="../tags/tag142.xml"/><Relationship Id="rId74" Type="http://schemas.openxmlformats.org/officeDocument/2006/relationships/tags" Target="../tags/tag150.xml"/><Relationship Id="rId79" Type="http://schemas.openxmlformats.org/officeDocument/2006/relationships/image" Target="../media/image2.tmp"/><Relationship Id="rId5" Type="http://schemas.openxmlformats.org/officeDocument/2006/relationships/tags" Target="../tags/tag81.xml"/><Relationship Id="rId61" Type="http://schemas.openxmlformats.org/officeDocument/2006/relationships/tags" Target="../tags/tag137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tags" Target="../tags/tag107.xml"/><Relationship Id="rId44" Type="http://schemas.openxmlformats.org/officeDocument/2006/relationships/tags" Target="../tags/tag120.xml"/><Relationship Id="rId52" Type="http://schemas.openxmlformats.org/officeDocument/2006/relationships/tags" Target="../tags/tag128.xml"/><Relationship Id="rId60" Type="http://schemas.openxmlformats.org/officeDocument/2006/relationships/tags" Target="../tags/tag136.xml"/><Relationship Id="rId65" Type="http://schemas.openxmlformats.org/officeDocument/2006/relationships/tags" Target="../tags/tag141.xml"/><Relationship Id="rId73" Type="http://schemas.openxmlformats.org/officeDocument/2006/relationships/tags" Target="../tags/tag149.xml"/><Relationship Id="rId78" Type="http://schemas.openxmlformats.org/officeDocument/2006/relationships/image" Target="../media/image1.jpeg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tags" Target="../tags/tag103.xml"/><Relationship Id="rId30" Type="http://schemas.openxmlformats.org/officeDocument/2006/relationships/tags" Target="../tags/tag106.xml"/><Relationship Id="rId35" Type="http://schemas.openxmlformats.org/officeDocument/2006/relationships/tags" Target="../tags/tag111.xml"/><Relationship Id="rId43" Type="http://schemas.openxmlformats.org/officeDocument/2006/relationships/tags" Target="../tags/tag119.xml"/><Relationship Id="rId48" Type="http://schemas.openxmlformats.org/officeDocument/2006/relationships/tags" Target="../tags/tag124.xml"/><Relationship Id="rId56" Type="http://schemas.openxmlformats.org/officeDocument/2006/relationships/tags" Target="../tags/tag132.xml"/><Relationship Id="rId64" Type="http://schemas.openxmlformats.org/officeDocument/2006/relationships/tags" Target="../tags/tag140.xml"/><Relationship Id="rId69" Type="http://schemas.openxmlformats.org/officeDocument/2006/relationships/tags" Target="../tags/tag145.xml"/><Relationship Id="rId77" Type="http://schemas.openxmlformats.org/officeDocument/2006/relationships/slideLayout" Target="../slideLayouts/slideLayout1.xml"/><Relationship Id="rId8" Type="http://schemas.openxmlformats.org/officeDocument/2006/relationships/tags" Target="../tags/tag84.xml"/><Relationship Id="rId51" Type="http://schemas.openxmlformats.org/officeDocument/2006/relationships/tags" Target="../tags/tag127.xml"/><Relationship Id="rId72" Type="http://schemas.openxmlformats.org/officeDocument/2006/relationships/tags" Target="../tags/tag148.xml"/><Relationship Id="rId3" Type="http://schemas.openxmlformats.org/officeDocument/2006/relationships/tags" Target="../tags/tag79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33" Type="http://schemas.openxmlformats.org/officeDocument/2006/relationships/tags" Target="../tags/tag109.xml"/><Relationship Id="rId38" Type="http://schemas.openxmlformats.org/officeDocument/2006/relationships/tags" Target="../tags/tag114.xml"/><Relationship Id="rId46" Type="http://schemas.openxmlformats.org/officeDocument/2006/relationships/tags" Target="../tags/tag122.xml"/><Relationship Id="rId59" Type="http://schemas.openxmlformats.org/officeDocument/2006/relationships/tags" Target="../tags/tag135.xml"/><Relationship Id="rId67" Type="http://schemas.openxmlformats.org/officeDocument/2006/relationships/tags" Target="../tags/tag143.xml"/><Relationship Id="rId20" Type="http://schemas.openxmlformats.org/officeDocument/2006/relationships/tags" Target="../tags/tag96.xml"/><Relationship Id="rId41" Type="http://schemas.openxmlformats.org/officeDocument/2006/relationships/tags" Target="../tags/tag117.xml"/><Relationship Id="rId54" Type="http://schemas.openxmlformats.org/officeDocument/2006/relationships/tags" Target="../tags/tag130.xml"/><Relationship Id="rId62" Type="http://schemas.openxmlformats.org/officeDocument/2006/relationships/tags" Target="../tags/tag138.xml"/><Relationship Id="rId70" Type="http://schemas.openxmlformats.org/officeDocument/2006/relationships/tags" Target="../tags/tag146.xml"/><Relationship Id="rId75" Type="http://schemas.openxmlformats.org/officeDocument/2006/relationships/tags" Target="../tags/tag151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tags" Target="../tags/tag104.xml"/><Relationship Id="rId36" Type="http://schemas.openxmlformats.org/officeDocument/2006/relationships/tags" Target="../tags/tag112.xml"/><Relationship Id="rId49" Type="http://schemas.openxmlformats.org/officeDocument/2006/relationships/tags" Target="../tags/tag125.xml"/><Relationship Id="rId57" Type="http://schemas.openxmlformats.org/officeDocument/2006/relationships/tags" Target="../tags/tag13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26" Type="http://schemas.openxmlformats.org/officeDocument/2006/relationships/tags" Target="../tags/tag178.xml"/><Relationship Id="rId39" Type="http://schemas.openxmlformats.org/officeDocument/2006/relationships/tags" Target="../tags/tag191.xml"/><Relationship Id="rId21" Type="http://schemas.openxmlformats.org/officeDocument/2006/relationships/tags" Target="../tags/tag173.xml"/><Relationship Id="rId34" Type="http://schemas.openxmlformats.org/officeDocument/2006/relationships/tags" Target="../tags/tag186.xml"/><Relationship Id="rId42" Type="http://schemas.openxmlformats.org/officeDocument/2006/relationships/tags" Target="../tags/tag194.xml"/><Relationship Id="rId47" Type="http://schemas.openxmlformats.org/officeDocument/2006/relationships/tags" Target="../tags/tag199.xml"/><Relationship Id="rId50" Type="http://schemas.openxmlformats.org/officeDocument/2006/relationships/tags" Target="../tags/tag202.xml"/><Relationship Id="rId55" Type="http://schemas.openxmlformats.org/officeDocument/2006/relationships/tags" Target="../tags/tag207.xml"/><Relationship Id="rId63" Type="http://schemas.openxmlformats.org/officeDocument/2006/relationships/tags" Target="../tags/tag215.xml"/><Relationship Id="rId68" Type="http://schemas.openxmlformats.org/officeDocument/2006/relationships/tags" Target="../tags/tag220.xml"/><Relationship Id="rId76" Type="http://schemas.openxmlformats.org/officeDocument/2006/relationships/tags" Target="../tags/tag228.xml"/><Relationship Id="rId7" Type="http://schemas.openxmlformats.org/officeDocument/2006/relationships/tags" Target="../tags/tag159.xml"/><Relationship Id="rId71" Type="http://schemas.openxmlformats.org/officeDocument/2006/relationships/tags" Target="../tags/tag223.xml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9" Type="http://schemas.openxmlformats.org/officeDocument/2006/relationships/tags" Target="../tags/tag181.xml"/><Relationship Id="rId11" Type="http://schemas.openxmlformats.org/officeDocument/2006/relationships/tags" Target="../tags/tag163.xml"/><Relationship Id="rId24" Type="http://schemas.openxmlformats.org/officeDocument/2006/relationships/tags" Target="../tags/tag176.xml"/><Relationship Id="rId32" Type="http://schemas.openxmlformats.org/officeDocument/2006/relationships/tags" Target="../tags/tag184.xml"/><Relationship Id="rId37" Type="http://schemas.openxmlformats.org/officeDocument/2006/relationships/tags" Target="../tags/tag189.xml"/><Relationship Id="rId40" Type="http://schemas.openxmlformats.org/officeDocument/2006/relationships/tags" Target="../tags/tag192.xml"/><Relationship Id="rId45" Type="http://schemas.openxmlformats.org/officeDocument/2006/relationships/tags" Target="../tags/tag197.xml"/><Relationship Id="rId53" Type="http://schemas.openxmlformats.org/officeDocument/2006/relationships/tags" Target="../tags/tag205.xml"/><Relationship Id="rId58" Type="http://schemas.openxmlformats.org/officeDocument/2006/relationships/tags" Target="../tags/tag210.xml"/><Relationship Id="rId66" Type="http://schemas.openxmlformats.org/officeDocument/2006/relationships/tags" Target="../tags/tag218.xml"/><Relationship Id="rId74" Type="http://schemas.openxmlformats.org/officeDocument/2006/relationships/tags" Target="../tags/tag226.xml"/><Relationship Id="rId79" Type="http://schemas.openxmlformats.org/officeDocument/2006/relationships/image" Target="../media/image2.tmp"/><Relationship Id="rId5" Type="http://schemas.openxmlformats.org/officeDocument/2006/relationships/tags" Target="../tags/tag157.xml"/><Relationship Id="rId61" Type="http://schemas.openxmlformats.org/officeDocument/2006/relationships/tags" Target="../tags/tag213.xml"/><Relationship Id="rId10" Type="http://schemas.openxmlformats.org/officeDocument/2006/relationships/tags" Target="../tags/tag162.xml"/><Relationship Id="rId19" Type="http://schemas.openxmlformats.org/officeDocument/2006/relationships/tags" Target="../tags/tag171.xml"/><Relationship Id="rId31" Type="http://schemas.openxmlformats.org/officeDocument/2006/relationships/tags" Target="../tags/tag183.xml"/><Relationship Id="rId44" Type="http://schemas.openxmlformats.org/officeDocument/2006/relationships/tags" Target="../tags/tag196.xml"/><Relationship Id="rId52" Type="http://schemas.openxmlformats.org/officeDocument/2006/relationships/tags" Target="../tags/tag204.xml"/><Relationship Id="rId60" Type="http://schemas.openxmlformats.org/officeDocument/2006/relationships/tags" Target="../tags/tag212.xml"/><Relationship Id="rId65" Type="http://schemas.openxmlformats.org/officeDocument/2006/relationships/tags" Target="../tags/tag217.xml"/><Relationship Id="rId73" Type="http://schemas.openxmlformats.org/officeDocument/2006/relationships/tags" Target="../tags/tag225.xml"/><Relationship Id="rId78" Type="http://schemas.openxmlformats.org/officeDocument/2006/relationships/image" Target="../media/image1.jpeg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tags" Target="../tags/tag166.xml"/><Relationship Id="rId22" Type="http://schemas.openxmlformats.org/officeDocument/2006/relationships/tags" Target="../tags/tag174.xml"/><Relationship Id="rId27" Type="http://schemas.openxmlformats.org/officeDocument/2006/relationships/tags" Target="../tags/tag179.xml"/><Relationship Id="rId30" Type="http://schemas.openxmlformats.org/officeDocument/2006/relationships/tags" Target="../tags/tag182.xml"/><Relationship Id="rId35" Type="http://schemas.openxmlformats.org/officeDocument/2006/relationships/tags" Target="../tags/tag187.xml"/><Relationship Id="rId43" Type="http://schemas.openxmlformats.org/officeDocument/2006/relationships/tags" Target="../tags/tag195.xml"/><Relationship Id="rId48" Type="http://schemas.openxmlformats.org/officeDocument/2006/relationships/tags" Target="../tags/tag200.xml"/><Relationship Id="rId56" Type="http://schemas.openxmlformats.org/officeDocument/2006/relationships/tags" Target="../tags/tag208.xml"/><Relationship Id="rId64" Type="http://schemas.openxmlformats.org/officeDocument/2006/relationships/tags" Target="../tags/tag216.xml"/><Relationship Id="rId69" Type="http://schemas.openxmlformats.org/officeDocument/2006/relationships/tags" Target="../tags/tag221.xml"/><Relationship Id="rId77" Type="http://schemas.openxmlformats.org/officeDocument/2006/relationships/slideLayout" Target="../slideLayouts/slideLayout1.xml"/><Relationship Id="rId8" Type="http://schemas.openxmlformats.org/officeDocument/2006/relationships/tags" Target="../tags/tag160.xml"/><Relationship Id="rId51" Type="http://schemas.openxmlformats.org/officeDocument/2006/relationships/tags" Target="../tags/tag203.xml"/><Relationship Id="rId72" Type="http://schemas.openxmlformats.org/officeDocument/2006/relationships/tags" Target="../tags/tag224.xml"/><Relationship Id="rId3" Type="http://schemas.openxmlformats.org/officeDocument/2006/relationships/tags" Target="../tags/tag155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5" Type="http://schemas.openxmlformats.org/officeDocument/2006/relationships/tags" Target="../tags/tag177.xml"/><Relationship Id="rId33" Type="http://schemas.openxmlformats.org/officeDocument/2006/relationships/tags" Target="../tags/tag185.xml"/><Relationship Id="rId38" Type="http://schemas.openxmlformats.org/officeDocument/2006/relationships/tags" Target="../tags/tag190.xml"/><Relationship Id="rId46" Type="http://schemas.openxmlformats.org/officeDocument/2006/relationships/tags" Target="../tags/tag198.xml"/><Relationship Id="rId59" Type="http://schemas.openxmlformats.org/officeDocument/2006/relationships/tags" Target="../tags/tag211.xml"/><Relationship Id="rId67" Type="http://schemas.openxmlformats.org/officeDocument/2006/relationships/tags" Target="../tags/tag219.xml"/><Relationship Id="rId20" Type="http://schemas.openxmlformats.org/officeDocument/2006/relationships/tags" Target="../tags/tag172.xml"/><Relationship Id="rId41" Type="http://schemas.openxmlformats.org/officeDocument/2006/relationships/tags" Target="../tags/tag193.xml"/><Relationship Id="rId54" Type="http://schemas.openxmlformats.org/officeDocument/2006/relationships/tags" Target="../tags/tag206.xml"/><Relationship Id="rId62" Type="http://schemas.openxmlformats.org/officeDocument/2006/relationships/tags" Target="../tags/tag214.xml"/><Relationship Id="rId70" Type="http://schemas.openxmlformats.org/officeDocument/2006/relationships/tags" Target="../tags/tag222.xml"/><Relationship Id="rId75" Type="http://schemas.openxmlformats.org/officeDocument/2006/relationships/tags" Target="../tags/tag227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15" Type="http://schemas.openxmlformats.org/officeDocument/2006/relationships/tags" Target="../tags/tag167.xml"/><Relationship Id="rId23" Type="http://schemas.openxmlformats.org/officeDocument/2006/relationships/tags" Target="../tags/tag175.xml"/><Relationship Id="rId28" Type="http://schemas.openxmlformats.org/officeDocument/2006/relationships/tags" Target="../tags/tag180.xml"/><Relationship Id="rId36" Type="http://schemas.openxmlformats.org/officeDocument/2006/relationships/tags" Target="../tags/tag188.xml"/><Relationship Id="rId49" Type="http://schemas.openxmlformats.org/officeDocument/2006/relationships/tags" Target="../tags/tag201.xml"/><Relationship Id="rId57" Type="http://schemas.openxmlformats.org/officeDocument/2006/relationships/tags" Target="../tags/tag209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41.xml"/><Relationship Id="rId18" Type="http://schemas.openxmlformats.org/officeDocument/2006/relationships/tags" Target="../tags/tag246.xml"/><Relationship Id="rId26" Type="http://schemas.openxmlformats.org/officeDocument/2006/relationships/tags" Target="../tags/tag254.xml"/><Relationship Id="rId39" Type="http://schemas.openxmlformats.org/officeDocument/2006/relationships/tags" Target="../tags/tag267.xml"/><Relationship Id="rId21" Type="http://schemas.openxmlformats.org/officeDocument/2006/relationships/tags" Target="../tags/tag249.xml"/><Relationship Id="rId34" Type="http://schemas.openxmlformats.org/officeDocument/2006/relationships/tags" Target="../tags/tag262.xml"/><Relationship Id="rId42" Type="http://schemas.openxmlformats.org/officeDocument/2006/relationships/tags" Target="../tags/tag270.xml"/><Relationship Id="rId47" Type="http://schemas.openxmlformats.org/officeDocument/2006/relationships/tags" Target="../tags/tag275.xml"/><Relationship Id="rId50" Type="http://schemas.openxmlformats.org/officeDocument/2006/relationships/tags" Target="../tags/tag278.xml"/><Relationship Id="rId55" Type="http://schemas.openxmlformats.org/officeDocument/2006/relationships/tags" Target="../tags/tag283.xml"/><Relationship Id="rId63" Type="http://schemas.openxmlformats.org/officeDocument/2006/relationships/tags" Target="../tags/tag291.xml"/><Relationship Id="rId68" Type="http://schemas.openxmlformats.org/officeDocument/2006/relationships/tags" Target="../tags/tag296.xml"/><Relationship Id="rId76" Type="http://schemas.openxmlformats.org/officeDocument/2006/relationships/tags" Target="../tags/tag304.xml"/><Relationship Id="rId7" Type="http://schemas.openxmlformats.org/officeDocument/2006/relationships/tags" Target="../tags/tag235.xml"/><Relationship Id="rId71" Type="http://schemas.openxmlformats.org/officeDocument/2006/relationships/tags" Target="../tags/tag299.xml"/><Relationship Id="rId2" Type="http://schemas.openxmlformats.org/officeDocument/2006/relationships/tags" Target="../tags/tag230.xml"/><Relationship Id="rId16" Type="http://schemas.openxmlformats.org/officeDocument/2006/relationships/tags" Target="../tags/tag244.xml"/><Relationship Id="rId29" Type="http://schemas.openxmlformats.org/officeDocument/2006/relationships/tags" Target="../tags/tag257.xml"/><Relationship Id="rId11" Type="http://schemas.openxmlformats.org/officeDocument/2006/relationships/tags" Target="../tags/tag239.xml"/><Relationship Id="rId24" Type="http://schemas.openxmlformats.org/officeDocument/2006/relationships/tags" Target="../tags/tag252.xml"/><Relationship Id="rId32" Type="http://schemas.openxmlformats.org/officeDocument/2006/relationships/tags" Target="../tags/tag260.xml"/><Relationship Id="rId37" Type="http://schemas.openxmlformats.org/officeDocument/2006/relationships/tags" Target="../tags/tag265.xml"/><Relationship Id="rId40" Type="http://schemas.openxmlformats.org/officeDocument/2006/relationships/tags" Target="../tags/tag268.xml"/><Relationship Id="rId45" Type="http://schemas.openxmlformats.org/officeDocument/2006/relationships/tags" Target="../tags/tag273.xml"/><Relationship Id="rId53" Type="http://schemas.openxmlformats.org/officeDocument/2006/relationships/tags" Target="../tags/tag281.xml"/><Relationship Id="rId58" Type="http://schemas.openxmlformats.org/officeDocument/2006/relationships/tags" Target="../tags/tag286.xml"/><Relationship Id="rId66" Type="http://schemas.openxmlformats.org/officeDocument/2006/relationships/tags" Target="../tags/tag294.xml"/><Relationship Id="rId74" Type="http://schemas.openxmlformats.org/officeDocument/2006/relationships/tags" Target="../tags/tag302.xml"/><Relationship Id="rId79" Type="http://schemas.openxmlformats.org/officeDocument/2006/relationships/image" Target="../media/image2.tmp"/><Relationship Id="rId5" Type="http://schemas.openxmlformats.org/officeDocument/2006/relationships/tags" Target="../tags/tag233.xml"/><Relationship Id="rId61" Type="http://schemas.openxmlformats.org/officeDocument/2006/relationships/tags" Target="../tags/tag289.xml"/><Relationship Id="rId10" Type="http://schemas.openxmlformats.org/officeDocument/2006/relationships/tags" Target="../tags/tag238.xml"/><Relationship Id="rId19" Type="http://schemas.openxmlformats.org/officeDocument/2006/relationships/tags" Target="../tags/tag247.xml"/><Relationship Id="rId31" Type="http://schemas.openxmlformats.org/officeDocument/2006/relationships/tags" Target="../tags/tag259.xml"/><Relationship Id="rId44" Type="http://schemas.openxmlformats.org/officeDocument/2006/relationships/tags" Target="../tags/tag272.xml"/><Relationship Id="rId52" Type="http://schemas.openxmlformats.org/officeDocument/2006/relationships/tags" Target="../tags/tag280.xml"/><Relationship Id="rId60" Type="http://schemas.openxmlformats.org/officeDocument/2006/relationships/tags" Target="../tags/tag288.xml"/><Relationship Id="rId65" Type="http://schemas.openxmlformats.org/officeDocument/2006/relationships/tags" Target="../tags/tag293.xml"/><Relationship Id="rId73" Type="http://schemas.openxmlformats.org/officeDocument/2006/relationships/tags" Target="../tags/tag301.xml"/><Relationship Id="rId78" Type="http://schemas.openxmlformats.org/officeDocument/2006/relationships/image" Target="../media/image1.jpeg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Relationship Id="rId22" Type="http://schemas.openxmlformats.org/officeDocument/2006/relationships/tags" Target="../tags/tag250.xml"/><Relationship Id="rId27" Type="http://schemas.openxmlformats.org/officeDocument/2006/relationships/tags" Target="../tags/tag255.xml"/><Relationship Id="rId30" Type="http://schemas.openxmlformats.org/officeDocument/2006/relationships/tags" Target="../tags/tag258.xml"/><Relationship Id="rId35" Type="http://schemas.openxmlformats.org/officeDocument/2006/relationships/tags" Target="../tags/tag263.xml"/><Relationship Id="rId43" Type="http://schemas.openxmlformats.org/officeDocument/2006/relationships/tags" Target="../tags/tag271.xml"/><Relationship Id="rId48" Type="http://schemas.openxmlformats.org/officeDocument/2006/relationships/tags" Target="../tags/tag276.xml"/><Relationship Id="rId56" Type="http://schemas.openxmlformats.org/officeDocument/2006/relationships/tags" Target="../tags/tag284.xml"/><Relationship Id="rId64" Type="http://schemas.openxmlformats.org/officeDocument/2006/relationships/tags" Target="../tags/tag292.xml"/><Relationship Id="rId69" Type="http://schemas.openxmlformats.org/officeDocument/2006/relationships/tags" Target="../tags/tag297.xml"/><Relationship Id="rId77" Type="http://schemas.openxmlformats.org/officeDocument/2006/relationships/slideLayout" Target="../slideLayouts/slideLayout1.xml"/><Relationship Id="rId8" Type="http://schemas.openxmlformats.org/officeDocument/2006/relationships/tags" Target="../tags/tag236.xml"/><Relationship Id="rId51" Type="http://schemas.openxmlformats.org/officeDocument/2006/relationships/tags" Target="../tags/tag279.xml"/><Relationship Id="rId72" Type="http://schemas.openxmlformats.org/officeDocument/2006/relationships/tags" Target="../tags/tag300.xml"/><Relationship Id="rId80" Type="http://schemas.openxmlformats.org/officeDocument/2006/relationships/image" Target="../media/image13.jpg"/><Relationship Id="rId3" Type="http://schemas.openxmlformats.org/officeDocument/2006/relationships/tags" Target="../tags/tag231.xml"/><Relationship Id="rId12" Type="http://schemas.openxmlformats.org/officeDocument/2006/relationships/tags" Target="../tags/tag240.xml"/><Relationship Id="rId17" Type="http://schemas.openxmlformats.org/officeDocument/2006/relationships/tags" Target="../tags/tag245.xml"/><Relationship Id="rId25" Type="http://schemas.openxmlformats.org/officeDocument/2006/relationships/tags" Target="../tags/tag253.xml"/><Relationship Id="rId33" Type="http://schemas.openxmlformats.org/officeDocument/2006/relationships/tags" Target="../tags/tag261.xml"/><Relationship Id="rId38" Type="http://schemas.openxmlformats.org/officeDocument/2006/relationships/tags" Target="../tags/tag266.xml"/><Relationship Id="rId46" Type="http://schemas.openxmlformats.org/officeDocument/2006/relationships/tags" Target="../tags/tag274.xml"/><Relationship Id="rId59" Type="http://schemas.openxmlformats.org/officeDocument/2006/relationships/tags" Target="../tags/tag287.xml"/><Relationship Id="rId67" Type="http://schemas.openxmlformats.org/officeDocument/2006/relationships/tags" Target="../tags/tag295.xml"/><Relationship Id="rId20" Type="http://schemas.openxmlformats.org/officeDocument/2006/relationships/tags" Target="../tags/tag248.xml"/><Relationship Id="rId41" Type="http://schemas.openxmlformats.org/officeDocument/2006/relationships/tags" Target="../tags/tag269.xml"/><Relationship Id="rId54" Type="http://schemas.openxmlformats.org/officeDocument/2006/relationships/tags" Target="../tags/tag282.xml"/><Relationship Id="rId62" Type="http://schemas.openxmlformats.org/officeDocument/2006/relationships/tags" Target="../tags/tag290.xml"/><Relationship Id="rId70" Type="http://schemas.openxmlformats.org/officeDocument/2006/relationships/tags" Target="../tags/tag298.xml"/><Relationship Id="rId75" Type="http://schemas.openxmlformats.org/officeDocument/2006/relationships/tags" Target="../tags/tag303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15" Type="http://schemas.openxmlformats.org/officeDocument/2006/relationships/tags" Target="../tags/tag243.xml"/><Relationship Id="rId23" Type="http://schemas.openxmlformats.org/officeDocument/2006/relationships/tags" Target="../tags/tag251.xml"/><Relationship Id="rId28" Type="http://schemas.openxmlformats.org/officeDocument/2006/relationships/tags" Target="../tags/tag256.xml"/><Relationship Id="rId36" Type="http://schemas.openxmlformats.org/officeDocument/2006/relationships/tags" Target="../tags/tag264.xml"/><Relationship Id="rId49" Type="http://schemas.openxmlformats.org/officeDocument/2006/relationships/tags" Target="../tags/tag277.xml"/><Relationship Id="rId57" Type="http://schemas.openxmlformats.org/officeDocument/2006/relationships/tags" Target="../tags/tag28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2.tmp"/><Relationship Id="rId7" Type="http://schemas.openxmlformats.org/officeDocument/2006/relationships/image" Target="../media/image1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012160" y="1844824"/>
            <a:ext cx="2808312" cy="1224136"/>
          </a:xfrm>
        </p:spPr>
        <p:txBody>
          <a:bodyPr>
            <a:noAutofit/>
          </a:bodyPr>
          <a:lstStyle/>
          <a:p>
            <a:pPr algn="l">
              <a:buClr>
                <a:schemeClr val="accent6">
                  <a:lumMod val="75000"/>
                </a:schemeClr>
              </a:buClr>
            </a:pPr>
            <a:r>
              <a:rPr lang="fr-FR" sz="3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Abidjan</a:t>
            </a:r>
          </a:p>
          <a:p>
            <a:pPr algn="l">
              <a:buClr>
                <a:schemeClr val="accent6">
                  <a:lumMod val="75000"/>
                </a:schemeClr>
              </a:buClr>
            </a:pPr>
            <a:r>
              <a:rPr lang="fr-FR" sz="3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 octobre 2018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pic>
        <p:nvPicPr>
          <p:cNvPr id="4" name="Image 3" descr="Capture d’écran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6" b="1478"/>
          <a:stretch/>
        </p:blipFill>
        <p:spPr>
          <a:xfrm>
            <a:off x="899592" y="1476047"/>
            <a:ext cx="5163836" cy="5107339"/>
          </a:xfrm>
          <a:prstGeom prst="rect">
            <a:avLst/>
          </a:prstGeom>
        </p:spPr>
      </p:pic>
      <p:sp>
        <p:nvSpPr>
          <p:cNvPr id="8" name="Sous-titre 2"/>
          <p:cNvSpPr txBox="1">
            <a:spLocks/>
          </p:cNvSpPr>
          <p:nvPr/>
        </p:nvSpPr>
        <p:spPr>
          <a:xfrm>
            <a:off x="6335688" y="5615530"/>
            <a:ext cx="2808312" cy="12241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chemeClr val="accent6">
                  <a:lumMod val="75000"/>
                </a:schemeClr>
              </a:buClr>
            </a:pPr>
            <a:r>
              <a:rPr lang="fr-FR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résentation de Thierry MOREAU</a:t>
            </a:r>
          </a:p>
        </p:txBody>
      </p:sp>
    </p:spTree>
    <p:extLst>
      <p:ext uri="{BB962C8B-B14F-4D97-AF65-F5344CB8AC3E}">
        <p14:creationId xmlns:p14="http://schemas.microsoft.com/office/powerpoint/2010/main" val="364709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2596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LANTATIONS EN EUROP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sp>
        <p:nvSpPr>
          <p:cNvPr id="19" name="ZoneTexte 18"/>
          <p:cNvSpPr txBox="1"/>
          <p:nvPr/>
        </p:nvSpPr>
        <p:spPr>
          <a:xfrm>
            <a:off x="4925497" y="1699549"/>
            <a:ext cx="3312368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GI Consulting SA (Siège)</a:t>
            </a:r>
          </a:p>
          <a:p>
            <a:pPr algn="ctr"/>
            <a:r>
              <a:rPr lang="fr-FR" sz="1600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GI </a:t>
            </a:r>
            <a:r>
              <a:rPr lang="fr-FR" sz="1600" dirty="0" err="1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genierie</a:t>
            </a:r>
            <a:r>
              <a:rPr lang="fr-FR" sz="1600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SA</a:t>
            </a:r>
          </a:p>
          <a:p>
            <a:pPr algn="ctr"/>
            <a:r>
              <a:rPr lang="fr-FR" sz="16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Luxembourg </a:t>
            </a:r>
          </a:p>
          <a:p>
            <a:pPr algn="ctr"/>
            <a:endParaRPr lang="fr-FR" sz="2000" dirty="0">
              <a:solidFill>
                <a:schemeClr val="accent6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101" name="Picture 5" descr="Afficher l'image d'origin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1191" y="1912054"/>
            <a:ext cx="683308" cy="45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e 22"/>
          <p:cNvGrpSpPr/>
          <p:nvPr/>
        </p:nvGrpSpPr>
        <p:grpSpPr>
          <a:xfrm>
            <a:off x="4892780" y="2708920"/>
            <a:ext cx="3312368" cy="888936"/>
            <a:chOff x="562519" y="1646810"/>
            <a:chExt cx="3312368" cy="888936"/>
          </a:xfrm>
        </p:grpSpPr>
        <p:sp>
          <p:nvSpPr>
            <p:cNvPr id="24" name="Rectangle à coins arrondis 23"/>
            <p:cNvSpPr/>
            <p:nvPr/>
          </p:nvSpPr>
          <p:spPr>
            <a:xfrm>
              <a:off x="797744" y="1646810"/>
              <a:ext cx="2841917" cy="888935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ZoneTexte 24"/>
            <p:cNvSpPr txBox="1"/>
            <p:nvPr/>
          </p:nvSpPr>
          <p:spPr>
            <a:xfrm>
              <a:off x="562519" y="1704749"/>
              <a:ext cx="331236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smtClean="0">
                  <a:solidFill>
                    <a:schemeClr val="accent6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GI INGENIEURS SA./NV.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Bruxelles et Namur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Belgique</a:t>
              </a:r>
              <a:endParaRPr lang="fr-FR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4106" name="Picture 10" descr="Afficher l'image d'origin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3" t="20880" r="8314" b="21975"/>
          <a:stretch/>
        </p:blipFill>
        <p:spPr bwMode="auto">
          <a:xfrm>
            <a:off x="8272181" y="4917133"/>
            <a:ext cx="690625" cy="47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Afficher l'image d'origin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901359"/>
            <a:ext cx="718398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Afficher l'image d'origin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0" r="12740"/>
          <a:stretch/>
        </p:blipFill>
        <p:spPr bwMode="auto">
          <a:xfrm>
            <a:off x="8374235" y="5909145"/>
            <a:ext cx="486515" cy="48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e 12"/>
          <p:cNvGrpSpPr/>
          <p:nvPr/>
        </p:nvGrpSpPr>
        <p:grpSpPr>
          <a:xfrm>
            <a:off x="4932040" y="4725144"/>
            <a:ext cx="3312368" cy="888935"/>
            <a:chOff x="4892780" y="3793472"/>
            <a:chExt cx="3312368" cy="888935"/>
          </a:xfrm>
        </p:grpSpPr>
        <p:sp>
          <p:nvSpPr>
            <p:cNvPr id="33" name="ZoneTexte 32"/>
            <p:cNvSpPr txBox="1"/>
            <p:nvPr/>
          </p:nvSpPr>
          <p:spPr>
            <a:xfrm>
              <a:off x="4892780" y="3851181"/>
              <a:ext cx="331236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smtClean="0">
                  <a:solidFill>
                    <a:schemeClr val="accent6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GI INTERNATIONAL SA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Lyon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France</a:t>
              </a:r>
              <a:endParaRPr lang="fr-FR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à coins arrondis 36"/>
            <p:cNvSpPr/>
            <p:nvPr/>
          </p:nvSpPr>
          <p:spPr>
            <a:xfrm>
              <a:off x="5133660" y="3793472"/>
              <a:ext cx="2841917" cy="888935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5" name="Groupe 14"/>
          <p:cNvGrpSpPr/>
          <p:nvPr/>
        </p:nvGrpSpPr>
        <p:grpSpPr>
          <a:xfrm>
            <a:off x="4932040" y="3717032"/>
            <a:ext cx="3312368" cy="888935"/>
            <a:chOff x="4931624" y="5114163"/>
            <a:chExt cx="3312368" cy="888935"/>
          </a:xfrm>
        </p:grpSpPr>
        <p:sp>
          <p:nvSpPr>
            <p:cNvPr id="36" name="ZoneTexte 35"/>
            <p:cNvSpPr txBox="1"/>
            <p:nvPr/>
          </p:nvSpPr>
          <p:spPr>
            <a:xfrm>
              <a:off x="4931624" y="5143133"/>
              <a:ext cx="331236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smtClean="0">
                  <a:solidFill>
                    <a:schemeClr val="accent6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GI INGENIERIE SAS France 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Le Bourget du Lac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France</a:t>
              </a:r>
              <a:endParaRPr lang="fr-FR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ctangle à coins arrondis 37"/>
            <p:cNvSpPr/>
            <p:nvPr/>
          </p:nvSpPr>
          <p:spPr>
            <a:xfrm>
              <a:off x="5166849" y="5114163"/>
              <a:ext cx="2841917" cy="888935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1" name="Groupe 40"/>
          <p:cNvGrpSpPr/>
          <p:nvPr/>
        </p:nvGrpSpPr>
        <p:grpSpPr>
          <a:xfrm>
            <a:off x="4932039" y="5707222"/>
            <a:ext cx="3312368" cy="888935"/>
            <a:chOff x="4892780" y="3793472"/>
            <a:chExt cx="3312368" cy="888935"/>
          </a:xfrm>
        </p:grpSpPr>
        <p:sp>
          <p:nvSpPr>
            <p:cNvPr id="42" name="ZoneTexte 41"/>
            <p:cNvSpPr txBox="1"/>
            <p:nvPr/>
          </p:nvSpPr>
          <p:spPr>
            <a:xfrm>
              <a:off x="4892780" y="3851181"/>
              <a:ext cx="331236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smtClean="0">
                  <a:solidFill>
                    <a:schemeClr val="accent6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SGI INGENIERIE SA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Genève</a:t>
              </a:r>
            </a:p>
            <a:p>
              <a:pPr algn="ctr"/>
              <a:r>
                <a:rPr lang="fr-FR" sz="16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Suisse</a:t>
              </a:r>
              <a:endParaRPr lang="fr-FR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à coins arrondis 42"/>
            <p:cNvSpPr/>
            <p:nvPr/>
          </p:nvSpPr>
          <p:spPr>
            <a:xfrm>
              <a:off x="5133660" y="3793472"/>
              <a:ext cx="2841917" cy="888935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4112" name="Picture 16" descr="C:\Users\chapelle\Desktop\Sw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76" r="35557"/>
          <a:stretch/>
        </p:blipFill>
        <p:spPr bwMode="auto">
          <a:xfrm>
            <a:off x="8802" y="1476047"/>
            <a:ext cx="4662631" cy="5147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Ellipse 30"/>
          <p:cNvSpPr/>
          <p:nvPr/>
        </p:nvSpPr>
        <p:spPr>
          <a:xfrm>
            <a:off x="3037648" y="4357023"/>
            <a:ext cx="115483" cy="1099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Ellipse 31"/>
          <p:cNvSpPr/>
          <p:nvPr/>
        </p:nvSpPr>
        <p:spPr>
          <a:xfrm>
            <a:off x="3225139" y="4467011"/>
            <a:ext cx="115483" cy="1099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5" name="Ellipse 34"/>
          <p:cNvSpPr/>
          <p:nvPr/>
        </p:nvSpPr>
        <p:spPr>
          <a:xfrm>
            <a:off x="3211778" y="3249718"/>
            <a:ext cx="115483" cy="1099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9" name="Ellipse 38"/>
          <p:cNvSpPr/>
          <p:nvPr/>
        </p:nvSpPr>
        <p:spPr>
          <a:xfrm>
            <a:off x="3434007" y="3432874"/>
            <a:ext cx="115483" cy="1099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0" name="Ellipse 39"/>
          <p:cNvSpPr/>
          <p:nvPr/>
        </p:nvSpPr>
        <p:spPr>
          <a:xfrm>
            <a:off x="3412894" y="4174292"/>
            <a:ext cx="115483" cy="1099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4" name="Rectangle à coins arrondis 33"/>
          <p:cNvSpPr/>
          <p:nvPr/>
        </p:nvSpPr>
        <p:spPr>
          <a:xfrm>
            <a:off x="5116131" y="1694216"/>
            <a:ext cx="2841917" cy="888935"/>
          </a:xfrm>
          <a:prstGeom prst="round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4" name="Picture 10" descr="Afficher l'image d'origin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3" t="20880" r="8314" b="21975"/>
          <a:stretch/>
        </p:blipFill>
        <p:spPr bwMode="auto">
          <a:xfrm>
            <a:off x="8272115" y="3872307"/>
            <a:ext cx="690625" cy="47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25963" y="404664"/>
            <a:ext cx="4248472" cy="965969"/>
          </a:xfrm>
        </p:spPr>
        <p:txBody>
          <a:bodyPr>
            <a:normAutofit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S DOMAINES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64" y="4187755"/>
            <a:ext cx="2962166" cy="222162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88" b="7910"/>
          <a:stretch/>
        </p:blipFill>
        <p:spPr>
          <a:xfrm>
            <a:off x="4896590" y="1825974"/>
            <a:ext cx="4021993" cy="2160241"/>
          </a:xfrm>
          <a:prstGeom prst="rect">
            <a:avLst/>
          </a:prstGeom>
        </p:spPr>
      </p:pic>
      <p:pic>
        <p:nvPicPr>
          <p:cNvPr id="1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38"/>
          <a:stretch/>
        </p:blipFill>
        <p:spPr bwMode="auto">
          <a:xfrm>
            <a:off x="200597" y="1834109"/>
            <a:ext cx="4464496" cy="215210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Image 16" descr="STEP LA ROCHE SUR FORON .0017Copyright Olivier DUPONT_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333893" y="4170287"/>
            <a:ext cx="5584020" cy="1706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349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8964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LANTATIONS EN AFRIQU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grpSp>
        <p:nvGrpSpPr>
          <p:cNvPr id="92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411760" y="1613050"/>
            <a:ext cx="5142021" cy="4840291"/>
            <a:chOff x="989" y="785"/>
            <a:chExt cx="3509" cy="3049"/>
          </a:xfrm>
          <a:solidFill>
            <a:schemeClr val="accent1"/>
          </a:solidFill>
        </p:grpSpPr>
        <p:sp>
          <p:nvSpPr>
            <p:cNvPr id="93" name="Freeform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1540" y="1310"/>
              <a:ext cx="699" cy="622"/>
            </a:xfrm>
            <a:custGeom>
              <a:avLst/>
              <a:gdLst>
                <a:gd name="T0" fmla="*/ 24 w 822"/>
                <a:gd name="T1" fmla="*/ 492 h 732"/>
                <a:gd name="T2" fmla="*/ 36 w 822"/>
                <a:gd name="T3" fmla="*/ 462 h 732"/>
                <a:gd name="T4" fmla="*/ 66 w 822"/>
                <a:gd name="T5" fmla="*/ 486 h 732"/>
                <a:gd name="T6" fmla="*/ 84 w 822"/>
                <a:gd name="T7" fmla="*/ 474 h 732"/>
                <a:gd name="T8" fmla="*/ 126 w 822"/>
                <a:gd name="T9" fmla="*/ 474 h 732"/>
                <a:gd name="T10" fmla="*/ 192 w 822"/>
                <a:gd name="T11" fmla="*/ 468 h 732"/>
                <a:gd name="T12" fmla="*/ 312 w 822"/>
                <a:gd name="T13" fmla="*/ 468 h 732"/>
                <a:gd name="T14" fmla="*/ 324 w 822"/>
                <a:gd name="T15" fmla="*/ 354 h 732"/>
                <a:gd name="T16" fmla="*/ 312 w 822"/>
                <a:gd name="T17" fmla="*/ 228 h 732"/>
                <a:gd name="T18" fmla="*/ 294 w 822"/>
                <a:gd name="T19" fmla="*/ 78 h 732"/>
                <a:gd name="T20" fmla="*/ 414 w 822"/>
                <a:gd name="T21" fmla="*/ 24 h 732"/>
                <a:gd name="T22" fmla="*/ 612 w 822"/>
                <a:gd name="T23" fmla="*/ 156 h 732"/>
                <a:gd name="T24" fmla="*/ 690 w 822"/>
                <a:gd name="T25" fmla="*/ 216 h 732"/>
                <a:gd name="T26" fmla="*/ 702 w 822"/>
                <a:gd name="T27" fmla="*/ 234 h 732"/>
                <a:gd name="T28" fmla="*/ 732 w 822"/>
                <a:gd name="T29" fmla="*/ 240 h 732"/>
                <a:gd name="T30" fmla="*/ 768 w 822"/>
                <a:gd name="T31" fmla="*/ 252 h 732"/>
                <a:gd name="T32" fmla="*/ 768 w 822"/>
                <a:gd name="T33" fmla="*/ 276 h 732"/>
                <a:gd name="T34" fmla="*/ 822 w 822"/>
                <a:gd name="T35" fmla="*/ 288 h 732"/>
                <a:gd name="T36" fmla="*/ 804 w 822"/>
                <a:gd name="T37" fmla="*/ 456 h 732"/>
                <a:gd name="T38" fmla="*/ 786 w 822"/>
                <a:gd name="T39" fmla="*/ 480 h 732"/>
                <a:gd name="T40" fmla="*/ 648 w 822"/>
                <a:gd name="T41" fmla="*/ 498 h 732"/>
                <a:gd name="T42" fmla="*/ 618 w 822"/>
                <a:gd name="T43" fmla="*/ 498 h 732"/>
                <a:gd name="T44" fmla="*/ 558 w 822"/>
                <a:gd name="T45" fmla="*/ 504 h 732"/>
                <a:gd name="T46" fmla="*/ 504 w 822"/>
                <a:gd name="T47" fmla="*/ 534 h 732"/>
                <a:gd name="T48" fmla="*/ 468 w 822"/>
                <a:gd name="T49" fmla="*/ 558 h 732"/>
                <a:gd name="T50" fmla="*/ 450 w 822"/>
                <a:gd name="T51" fmla="*/ 558 h 732"/>
                <a:gd name="T52" fmla="*/ 438 w 822"/>
                <a:gd name="T53" fmla="*/ 588 h 732"/>
                <a:gd name="T54" fmla="*/ 408 w 822"/>
                <a:gd name="T55" fmla="*/ 576 h 732"/>
                <a:gd name="T56" fmla="*/ 396 w 822"/>
                <a:gd name="T57" fmla="*/ 594 h 732"/>
                <a:gd name="T58" fmla="*/ 384 w 822"/>
                <a:gd name="T59" fmla="*/ 612 h 732"/>
                <a:gd name="T60" fmla="*/ 378 w 822"/>
                <a:gd name="T61" fmla="*/ 636 h 732"/>
                <a:gd name="T62" fmla="*/ 348 w 822"/>
                <a:gd name="T63" fmla="*/ 648 h 732"/>
                <a:gd name="T64" fmla="*/ 348 w 822"/>
                <a:gd name="T65" fmla="*/ 660 h 732"/>
                <a:gd name="T66" fmla="*/ 348 w 822"/>
                <a:gd name="T67" fmla="*/ 672 h 732"/>
                <a:gd name="T68" fmla="*/ 342 w 822"/>
                <a:gd name="T69" fmla="*/ 702 h 732"/>
                <a:gd name="T70" fmla="*/ 318 w 822"/>
                <a:gd name="T71" fmla="*/ 720 h 732"/>
                <a:gd name="T72" fmla="*/ 306 w 822"/>
                <a:gd name="T73" fmla="*/ 726 h 732"/>
                <a:gd name="T74" fmla="*/ 300 w 822"/>
                <a:gd name="T75" fmla="*/ 714 h 732"/>
                <a:gd name="T76" fmla="*/ 294 w 822"/>
                <a:gd name="T77" fmla="*/ 714 h 732"/>
                <a:gd name="T78" fmla="*/ 282 w 822"/>
                <a:gd name="T79" fmla="*/ 720 h 732"/>
                <a:gd name="T80" fmla="*/ 246 w 822"/>
                <a:gd name="T81" fmla="*/ 732 h 732"/>
                <a:gd name="T82" fmla="*/ 228 w 822"/>
                <a:gd name="T83" fmla="*/ 720 h 732"/>
                <a:gd name="T84" fmla="*/ 204 w 822"/>
                <a:gd name="T85" fmla="*/ 726 h 732"/>
                <a:gd name="T86" fmla="*/ 198 w 822"/>
                <a:gd name="T87" fmla="*/ 690 h 732"/>
                <a:gd name="T88" fmla="*/ 186 w 822"/>
                <a:gd name="T89" fmla="*/ 684 h 732"/>
                <a:gd name="T90" fmla="*/ 180 w 822"/>
                <a:gd name="T91" fmla="*/ 660 h 732"/>
                <a:gd name="T92" fmla="*/ 168 w 822"/>
                <a:gd name="T93" fmla="*/ 636 h 732"/>
                <a:gd name="T94" fmla="*/ 144 w 822"/>
                <a:gd name="T95" fmla="*/ 618 h 732"/>
                <a:gd name="T96" fmla="*/ 138 w 822"/>
                <a:gd name="T97" fmla="*/ 630 h 732"/>
                <a:gd name="T98" fmla="*/ 120 w 822"/>
                <a:gd name="T99" fmla="*/ 636 h 732"/>
                <a:gd name="T100" fmla="*/ 96 w 822"/>
                <a:gd name="T101" fmla="*/ 636 h 732"/>
                <a:gd name="T102" fmla="*/ 72 w 822"/>
                <a:gd name="T103" fmla="*/ 642 h 732"/>
                <a:gd name="T104" fmla="*/ 54 w 822"/>
                <a:gd name="T105" fmla="*/ 636 h 732"/>
                <a:gd name="T106" fmla="*/ 42 w 822"/>
                <a:gd name="T107" fmla="*/ 624 h 732"/>
                <a:gd name="T108" fmla="*/ 42 w 822"/>
                <a:gd name="T109" fmla="*/ 594 h 732"/>
                <a:gd name="T110" fmla="*/ 18 w 822"/>
                <a:gd name="T111" fmla="*/ 576 h 732"/>
                <a:gd name="T112" fmla="*/ 12 w 822"/>
                <a:gd name="T113" fmla="*/ 540 h 732"/>
                <a:gd name="T114" fmla="*/ 6 w 822"/>
                <a:gd name="T115" fmla="*/ 516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22"/>
                <a:gd name="T175" fmla="*/ 0 h 732"/>
                <a:gd name="T176" fmla="*/ 822 w 822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22" h="732">
                  <a:moveTo>
                    <a:pt x="0" y="504"/>
                  </a:moveTo>
                  <a:lnTo>
                    <a:pt x="6" y="504"/>
                  </a:lnTo>
                  <a:lnTo>
                    <a:pt x="12" y="510"/>
                  </a:lnTo>
                  <a:lnTo>
                    <a:pt x="12" y="504"/>
                  </a:lnTo>
                  <a:lnTo>
                    <a:pt x="18" y="504"/>
                  </a:lnTo>
                  <a:lnTo>
                    <a:pt x="24" y="498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6" y="468"/>
                  </a:lnTo>
                  <a:lnTo>
                    <a:pt x="36" y="462"/>
                  </a:lnTo>
                  <a:lnTo>
                    <a:pt x="42" y="462"/>
                  </a:lnTo>
                  <a:lnTo>
                    <a:pt x="48" y="468"/>
                  </a:lnTo>
                  <a:lnTo>
                    <a:pt x="48" y="474"/>
                  </a:lnTo>
                  <a:lnTo>
                    <a:pt x="54" y="474"/>
                  </a:lnTo>
                  <a:lnTo>
                    <a:pt x="60" y="480"/>
                  </a:lnTo>
                  <a:lnTo>
                    <a:pt x="66" y="480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72" y="486"/>
                  </a:lnTo>
                  <a:lnTo>
                    <a:pt x="72" y="480"/>
                  </a:lnTo>
                  <a:lnTo>
                    <a:pt x="78" y="480"/>
                  </a:lnTo>
                  <a:lnTo>
                    <a:pt x="78" y="474"/>
                  </a:lnTo>
                  <a:lnTo>
                    <a:pt x="84" y="474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74"/>
                  </a:lnTo>
                  <a:lnTo>
                    <a:pt x="108" y="474"/>
                  </a:lnTo>
                  <a:lnTo>
                    <a:pt x="114" y="474"/>
                  </a:lnTo>
                  <a:lnTo>
                    <a:pt x="120" y="474"/>
                  </a:lnTo>
                  <a:lnTo>
                    <a:pt x="126" y="474"/>
                  </a:lnTo>
                  <a:lnTo>
                    <a:pt x="144" y="474"/>
                  </a:lnTo>
                  <a:lnTo>
                    <a:pt x="138" y="462"/>
                  </a:lnTo>
                  <a:lnTo>
                    <a:pt x="144" y="462"/>
                  </a:lnTo>
                  <a:lnTo>
                    <a:pt x="150" y="462"/>
                  </a:lnTo>
                  <a:lnTo>
                    <a:pt x="144" y="468"/>
                  </a:lnTo>
                  <a:lnTo>
                    <a:pt x="180" y="468"/>
                  </a:lnTo>
                  <a:lnTo>
                    <a:pt x="192" y="468"/>
                  </a:lnTo>
                  <a:lnTo>
                    <a:pt x="198" y="468"/>
                  </a:lnTo>
                  <a:lnTo>
                    <a:pt x="216" y="468"/>
                  </a:lnTo>
                  <a:lnTo>
                    <a:pt x="228" y="468"/>
                  </a:lnTo>
                  <a:lnTo>
                    <a:pt x="252" y="468"/>
                  </a:lnTo>
                  <a:lnTo>
                    <a:pt x="258" y="468"/>
                  </a:lnTo>
                  <a:lnTo>
                    <a:pt x="276" y="468"/>
                  </a:lnTo>
                  <a:lnTo>
                    <a:pt x="312" y="468"/>
                  </a:lnTo>
                  <a:lnTo>
                    <a:pt x="330" y="468"/>
                  </a:lnTo>
                  <a:lnTo>
                    <a:pt x="336" y="468"/>
                  </a:lnTo>
                  <a:lnTo>
                    <a:pt x="348" y="426"/>
                  </a:lnTo>
                  <a:lnTo>
                    <a:pt x="330" y="420"/>
                  </a:lnTo>
                  <a:lnTo>
                    <a:pt x="330" y="396"/>
                  </a:lnTo>
                  <a:lnTo>
                    <a:pt x="324" y="372"/>
                  </a:lnTo>
                  <a:lnTo>
                    <a:pt x="324" y="354"/>
                  </a:lnTo>
                  <a:lnTo>
                    <a:pt x="324" y="348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28"/>
                  </a:lnTo>
                  <a:lnTo>
                    <a:pt x="306" y="192"/>
                  </a:lnTo>
                  <a:lnTo>
                    <a:pt x="300" y="138"/>
                  </a:lnTo>
                  <a:lnTo>
                    <a:pt x="300" y="114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294" y="78"/>
                  </a:lnTo>
                  <a:lnTo>
                    <a:pt x="294" y="66"/>
                  </a:lnTo>
                  <a:lnTo>
                    <a:pt x="288" y="48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360" y="0"/>
                  </a:lnTo>
                  <a:lnTo>
                    <a:pt x="372" y="0"/>
                  </a:lnTo>
                  <a:lnTo>
                    <a:pt x="414" y="24"/>
                  </a:lnTo>
                  <a:lnTo>
                    <a:pt x="438" y="36"/>
                  </a:lnTo>
                  <a:lnTo>
                    <a:pt x="444" y="48"/>
                  </a:lnTo>
                  <a:lnTo>
                    <a:pt x="462" y="54"/>
                  </a:lnTo>
                  <a:lnTo>
                    <a:pt x="528" y="96"/>
                  </a:lnTo>
                  <a:lnTo>
                    <a:pt x="600" y="144"/>
                  </a:lnTo>
                  <a:lnTo>
                    <a:pt x="612" y="150"/>
                  </a:lnTo>
                  <a:lnTo>
                    <a:pt x="612" y="156"/>
                  </a:lnTo>
                  <a:lnTo>
                    <a:pt x="666" y="192"/>
                  </a:lnTo>
                  <a:lnTo>
                    <a:pt x="666" y="198"/>
                  </a:lnTo>
                  <a:lnTo>
                    <a:pt x="666" y="210"/>
                  </a:lnTo>
                  <a:lnTo>
                    <a:pt x="672" y="210"/>
                  </a:lnTo>
                  <a:lnTo>
                    <a:pt x="678" y="210"/>
                  </a:lnTo>
                  <a:lnTo>
                    <a:pt x="684" y="216"/>
                  </a:lnTo>
                  <a:lnTo>
                    <a:pt x="690" y="216"/>
                  </a:lnTo>
                  <a:lnTo>
                    <a:pt x="690" y="222"/>
                  </a:lnTo>
                  <a:lnTo>
                    <a:pt x="690" y="228"/>
                  </a:lnTo>
                  <a:lnTo>
                    <a:pt x="696" y="228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8" y="234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6" y="234"/>
                  </a:lnTo>
                  <a:lnTo>
                    <a:pt x="726" y="240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38" y="246"/>
                  </a:lnTo>
                  <a:lnTo>
                    <a:pt x="744" y="246"/>
                  </a:lnTo>
                  <a:lnTo>
                    <a:pt x="750" y="246"/>
                  </a:lnTo>
                  <a:lnTo>
                    <a:pt x="756" y="246"/>
                  </a:lnTo>
                  <a:lnTo>
                    <a:pt x="762" y="252"/>
                  </a:lnTo>
                  <a:lnTo>
                    <a:pt x="768" y="252"/>
                  </a:lnTo>
                  <a:lnTo>
                    <a:pt x="768" y="258"/>
                  </a:lnTo>
                  <a:lnTo>
                    <a:pt x="768" y="264"/>
                  </a:lnTo>
                  <a:lnTo>
                    <a:pt x="768" y="270"/>
                  </a:lnTo>
                  <a:lnTo>
                    <a:pt x="774" y="270"/>
                  </a:lnTo>
                  <a:lnTo>
                    <a:pt x="768" y="270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8" y="282"/>
                  </a:lnTo>
                  <a:lnTo>
                    <a:pt x="768" y="288"/>
                  </a:lnTo>
                  <a:lnTo>
                    <a:pt x="762" y="288"/>
                  </a:lnTo>
                  <a:lnTo>
                    <a:pt x="768" y="294"/>
                  </a:lnTo>
                  <a:lnTo>
                    <a:pt x="774" y="294"/>
                  </a:lnTo>
                  <a:lnTo>
                    <a:pt x="774" y="300"/>
                  </a:lnTo>
                  <a:lnTo>
                    <a:pt x="822" y="288"/>
                  </a:lnTo>
                  <a:lnTo>
                    <a:pt x="822" y="396"/>
                  </a:lnTo>
                  <a:lnTo>
                    <a:pt x="810" y="402"/>
                  </a:lnTo>
                  <a:lnTo>
                    <a:pt x="810" y="414"/>
                  </a:lnTo>
                  <a:lnTo>
                    <a:pt x="810" y="426"/>
                  </a:lnTo>
                  <a:lnTo>
                    <a:pt x="810" y="444"/>
                  </a:lnTo>
                  <a:lnTo>
                    <a:pt x="804" y="450"/>
                  </a:lnTo>
                  <a:lnTo>
                    <a:pt x="804" y="456"/>
                  </a:lnTo>
                  <a:lnTo>
                    <a:pt x="804" y="462"/>
                  </a:lnTo>
                  <a:lnTo>
                    <a:pt x="798" y="462"/>
                  </a:lnTo>
                  <a:lnTo>
                    <a:pt x="792" y="462"/>
                  </a:lnTo>
                  <a:lnTo>
                    <a:pt x="792" y="468"/>
                  </a:lnTo>
                  <a:lnTo>
                    <a:pt x="786" y="468"/>
                  </a:lnTo>
                  <a:lnTo>
                    <a:pt x="786" y="474"/>
                  </a:lnTo>
                  <a:lnTo>
                    <a:pt x="786" y="480"/>
                  </a:lnTo>
                  <a:lnTo>
                    <a:pt x="762" y="480"/>
                  </a:lnTo>
                  <a:lnTo>
                    <a:pt x="738" y="474"/>
                  </a:lnTo>
                  <a:lnTo>
                    <a:pt x="702" y="48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98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6" y="492"/>
                  </a:lnTo>
                  <a:lnTo>
                    <a:pt x="630" y="498"/>
                  </a:lnTo>
                  <a:lnTo>
                    <a:pt x="624" y="492"/>
                  </a:lnTo>
                  <a:lnTo>
                    <a:pt x="618" y="492"/>
                  </a:lnTo>
                  <a:lnTo>
                    <a:pt x="618" y="498"/>
                  </a:lnTo>
                  <a:lnTo>
                    <a:pt x="612" y="498"/>
                  </a:lnTo>
                  <a:lnTo>
                    <a:pt x="612" y="492"/>
                  </a:lnTo>
                  <a:lnTo>
                    <a:pt x="600" y="492"/>
                  </a:lnTo>
                  <a:lnTo>
                    <a:pt x="588" y="492"/>
                  </a:lnTo>
                  <a:lnTo>
                    <a:pt x="576" y="492"/>
                  </a:lnTo>
                  <a:lnTo>
                    <a:pt x="564" y="498"/>
                  </a:lnTo>
                  <a:lnTo>
                    <a:pt x="558" y="504"/>
                  </a:lnTo>
                  <a:lnTo>
                    <a:pt x="546" y="510"/>
                  </a:lnTo>
                  <a:lnTo>
                    <a:pt x="528" y="516"/>
                  </a:lnTo>
                  <a:lnTo>
                    <a:pt x="522" y="522"/>
                  </a:lnTo>
                  <a:lnTo>
                    <a:pt x="516" y="522"/>
                  </a:lnTo>
                  <a:lnTo>
                    <a:pt x="510" y="522"/>
                  </a:lnTo>
                  <a:lnTo>
                    <a:pt x="510" y="534"/>
                  </a:lnTo>
                  <a:lnTo>
                    <a:pt x="504" y="534"/>
                  </a:lnTo>
                  <a:lnTo>
                    <a:pt x="498" y="534"/>
                  </a:lnTo>
                  <a:lnTo>
                    <a:pt x="486" y="528"/>
                  </a:lnTo>
                  <a:lnTo>
                    <a:pt x="480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468" y="558"/>
                  </a:lnTo>
                  <a:lnTo>
                    <a:pt x="462" y="564"/>
                  </a:lnTo>
                  <a:lnTo>
                    <a:pt x="462" y="558"/>
                  </a:lnTo>
                  <a:lnTo>
                    <a:pt x="456" y="564"/>
                  </a:lnTo>
                  <a:lnTo>
                    <a:pt x="456" y="558"/>
                  </a:lnTo>
                  <a:lnTo>
                    <a:pt x="450" y="558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44" y="570"/>
                  </a:lnTo>
                  <a:lnTo>
                    <a:pt x="450" y="570"/>
                  </a:lnTo>
                  <a:lnTo>
                    <a:pt x="450" y="576"/>
                  </a:lnTo>
                  <a:lnTo>
                    <a:pt x="450" y="582"/>
                  </a:lnTo>
                  <a:lnTo>
                    <a:pt x="438" y="582"/>
                  </a:lnTo>
                  <a:lnTo>
                    <a:pt x="438" y="58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20" y="576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08" y="570"/>
                  </a:lnTo>
                  <a:lnTo>
                    <a:pt x="408" y="576"/>
                  </a:lnTo>
                  <a:lnTo>
                    <a:pt x="402" y="576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396" y="588"/>
                  </a:lnTo>
                  <a:lnTo>
                    <a:pt x="396" y="594"/>
                  </a:lnTo>
                  <a:lnTo>
                    <a:pt x="402" y="594"/>
                  </a:lnTo>
                  <a:lnTo>
                    <a:pt x="402" y="600"/>
                  </a:lnTo>
                  <a:lnTo>
                    <a:pt x="402" y="606"/>
                  </a:lnTo>
                  <a:lnTo>
                    <a:pt x="396" y="606"/>
                  </a:lnTo>
                  <a:lnTo>
                    <a:pt x="390" y="606"/>
                  </a:lnTo>
                  <a:lnTo>
                    <a:pt x="384" y="606"/>
                  </a:lnTo>
                  <a:lnTo>
                    <a:pt x="384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90" y="624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2" y="654"/>
                  </a:lnTo>
                  <a:lnTo>
                    <a:pt x="348" y="654"/>
                  </a:lnTo>
                  <a:lnTo>
                    <a:pt x="348" y="660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72"/>
                  </a:lnTo>
                  <a:lnTo>
                    <a:pt x="354" y="672"/>
                  </a:lnTo>
                  <a:lnTo>
                    <a:pt x="348" y="672"/>
                  </a:lnTo>
                  <a:lnTo>
                    <a:pt x="348" y="678"/>
                  </a:lnTo>
                  <a:lnTo>
                    <a:pt x="348" y="684"/>
                  </a:lnTo>
                  <a:lnTo>
                    <a:pt x="342" y="684"/>
                  </a:lnTo>
                  <a:lnTo>
                    <a:pt x="342" y="690"/>
                  </a:lnTo>
                  <a:lnTo>
                    <a:pt x="336" y="690"/>
                  </a:lnTo>
                  <a:lnTo>
                    <a:pt x="336" y="696"/>
                  </a:lnTo>
                  <a:lnTo>
                    <a:pt x="342" y="702"/>
                  </a:lnTo>
                  <a:lnTo>
                    <a:pt x="336" y="702"/>
                  </a:lnTo>
                  <a:lnTo>
                    <a:pt x="336" y="708"/>
                  </a:lnTo>
                  <a:lnTo>
                    <a:pt x="336" y="714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18" y="720"/>
                  </a:lnTo>
                  <a:lnTo>
                    <a:pt x="318" y="726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2"/>
                  </a:lnTo>
                  <a:lnTo>
                    <a:pt x="300" y="732"/>
                  </a:lnTo>
                  <a:lnTo>
                    <a:pt x="300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08"/>
                  </a:lnTo>
                  <a:lnTo>
                    <a:pt x="294" y="708"/>
                  </a:lnTo>
                  <a:lnTo>
                    <a:pt x="288" y="708"/>
                  </a:lnTo>
                  <a:lnTo>
                    <a:pt x="288" y="714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2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0" y="726"/>
                  </a:lnTo>
                  <a:lnTo>
                    <a:pt x="240" y="720"/>
                  </a:lnTo>
                  <a:lnTo>
                    <a:pt x="234" y="720"/>
                  </a:lnTo>
                  <a:lnTo>
                    <a:pt x="228" y="720"/>
                  </a:lnTo>
                  <a:lnTo>
                    <a:pt x="228" y="726"/>
                  </a:lnTo>
                  <a:lnTo>
                    <a:pt x="222" y="726"/>
                  </a:lnTo>
                  <a:lnTo>
                    <a:pt x="222" y="732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0" y="726"/>
                  </a:lnTo>
                  <a:lnTo>
                    <a:pt x="204" y="726"/>
                  </a:lnTo>
                  <a:lnTo>
                    <a:pt x="204" y="720"/>
                  </a:lnTo>
                  <a:lnTo>
                    <a:pt x="198" y="720"/>
                  </a:lnTo>
                  <a:lnTo>
                    <a:pt x="198" y="714"/>
                  </a:lnTo>
                  <a:lnTo>
                    <a:pt x="198" y="708"/>
                  </a:lnTo>
                  <a:lnTo>
                    <a:pt x="198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6" y="696"/>
                  </a:lnTo>
                  <a:lnTo>
                    <a:pt x="180" y="696"/>
                  </a:lnTo>
                  <a:lnTo>
                    <a:pt x="180" y="690"/>
                  </a:lnTo>
                  <a:lnTo>
                    <a:pt x="180" y="684"/>
                  </a:lnTo>
                  <a:lnTo>
                    <a:pt x="186" y="684"/>
                  </a:lnTo>
                  <a:lnTo>
                    <a:pt x="186" y="678"/>
                  </a:lnTo>
                  <a:lnTo>
                    <a:pt x="192" y="678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80" y="666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74" y="654"/>
                  </a:lnTo>
                  <a:lnTo>
                    <a:pt x="174" y="648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36"/>
                  </a:lnTo>
                  <a:lnTo>
                    <a:pt x="162" y="636"/>
                  </a:lnTo>
                  <a:lnTo>
                    <a:pt x="162" y="630"/>
                  </a:lnTo>
                  <a:lnTo>
                    <a:pt x="162" y="624"/>
                  </a:lnTo>
                  <a:lnTo>
                    <a:pt x="156" y="624"/>
                  </a:lnTo>
                  <a:lnTo>
                    <a:pt x="156" y="618"/>
                  </a:lnTo>
                  <a:lnTo>
                    <a:pt x="150" y="618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50" y="624"/>
                  </a:lnTo>
                  <a:lnTo>
                    <a:pt x="150" y="630"/>
                  </a:lnTo>
                  <a:lnTo>
                    <a:pt x="144" y="630"/>
                  </a:lnTo>
                  <a:lnTo>
                    <a:pt x="138" y="630"/>
                  </a:lnTo>
                  <a:lnTo>
                    <a:pt x="138" y="636"/>
                  </a:lnTo>
                  <a:lnTo>
                    <a:pt x="132" y="636"/>
                  </a:lnTo>
                  <a:lnTo>
                    <a:pt x="126" y="636"/>
                  </a:lnTo>
                  <a:lnTo>
                    <a:pt x="132" y="642"/>
                  </a:lnTo>
                  <a:lnTo>
                    <a:pt x="126" y="642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08" y="636"/>
                  </a:lnTo>
                  <a:lnTo>
                    <a:pt x="102" y="636"/>
                  </a:lnTo>
                  <a:lnTo>
                    <a:pt x="102" y="630"/>
                  </a:lnTo>
                  <a:lnTo>
                    <a:pt x="96" y="636"/>
                  </a:lnTo>
                  <a:lnTo>
                    <a:pt x="96" y="630"/>
                  </a:lnTo>
                  <a:lnTo>
                    <a:pt x="96" y="636"/>
                  </a:lnTo>
                  <a:lnTo>
                    <a:pt x="90" y="636"/>
                  </a:lnTo>
                  <a:lnTo>
                    <a:pt x="90" y="642"/>
                  </a:lnTo>
                  <a:lnTo>
                    <a:pt x="84" y="642"/>
                  </a:lnTo>
                  <a:lnTo>
                    <a:pt x="84" y="648"/>
                  </a:lnTo>
                  <a:lnTo>
                    <a:pt x="78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6" y="630"/>
                  </a:lnTo>
                  <a:lnTo>
                    <a:pt x="60" y="636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48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42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2" y="606"/>
                  </a:lnTo>
                  <a:lnTo>
                    <a:pt x="42" y="600"/>
                  </a:lnTo>
                  <a:lnTo>
                    <a:pt x="48" y="594"/>
                  </a:lnTo>
                  <a:lnTo>
                    <a:pt x="42" y="594"/>
                  </a:lnTo>
                  <a:lnTo>
                    <a:pt x="42" y="588"/>
                  </a:lnTo>
                  <a:lnTo>
                    <a:pt x="36" y="588"/>
                  </a:lnTo>
                  <a:lnTo>
                    <a:pt x="36" y="582"/>
                  </a:lnTo>
                  <a:lnTo>
                    <a:pt x="36" y="576"/>
                  </a:lnTo>
                  <a:lnTo>
                    <a:pt x="30" y="576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2" y="546"/>
                  </a:lnTo>
                  <a:lnTo>
                    <a:pt x="12" y="540"/>
                  </a:lnTo>
                  <a:lnTo>
                    <a:pt x="12" y="534"/>
                  </a:lnTo>
                  <a:lnTo>
                    <a:pt x="12" y="528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0" y="510"/>
                  </a:lnTo>
                  <a:lnTo>
                    <a:pt x="0" y="50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6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504" y="846"/>
              <a:ext cx="510" cy="352"/>
            </a:xfrm>
            <a:custGeom>
              <a:avLst/>
              <a:gdLst>
                <a:gd name="T0" fmla="*/ 12 w 600"/>
                <a:gd name="T1" fmla="*/ 396 h 414"/>
                <a:gd name="T2" fmla="*/ 42 w 600"/>
                <a:gd name="T3" fmla="*/ 390 h 414"/>
                <a:gd name="T4" fmla="*/ 66 w 600"/>
                <a:gd name="T5" fmla="*/ 384 h 414"/>
                <a:gd name="T6" fmla="*/ 90 w 600"/>
                <a:gd name="T7" fmla="*/ 372 h 414"/>
                <a:gd name="T8" fmla="*/ 102 w 600"/>
                <a:gd name="T9" fmla="*/ 354 h 414"/>
                <a:gd name="T10" fmla="*/ 132 w 600"/>
                <a:gd name="T11" fmla="*/ 342 h 414"/>
                <a:gd name="T12" fmla="*/ 144 w 600"/>
                <a:gd name="T13" fmla="*/ 324 h 414"/>
                <a:gd name="T14" fmla="*/ 156 w 600"/>
                <a:gd name="T15" fmla="*/ 306 h 414"/>
                <a:gd name="T16" fmla="*/ 174 w 600"/>
                <a:gd name="T17" fmla="*/ 282 h 414"/>
                <a:gd name="T18" fmla="*/ 162 w 600"/>
                <a:gd name="T19" fmla="*/ 264 h 414"/>
                <a:gd name="T20" fmla="*/ 162 w 600"/>
                <a:gd name="T21" fmla="*/ 234 h 414"/>
                <a:gd name="T22" fmla="*/ 168 w 600"/>
                <a:gd name="T23" fmla="*/ 216 h 414"/>
                <a:gd name="T24" fmla="*/ 186 w 600"/>
                <a:gd name="T25" fmla="*/ 192 h 414"/>
                <a:gd name="T26" fmla="*/ 192 w 600"/>
                <a:gd name="T27" fmla="*/ 168 h 414"/>
                <a:gd name="T28" fmla="*/ 216 w 600"/>
                <a:gd name="T29" fmla="*/ 150 h 414"/>
                <a:gd name="T30" fmla="*/ 234 w 600"/>
                <a:gd name="T31" fmla="*/ 132 h 414"/>
                <a:gd name="T32" fmla="*/ 258 w 600"/>
                <a:gd name="T33" fmla="*/ 120 h 414"/>
                <a:gd name="T34" fmla="*/ 282 w 600"/>
                <a:gd name="T35" fmla="*/ 108 h 414"/>
                <a:gd name="T36" fmla="*/ 306 w 600"/>
                <a:gd name="T37" fmla="*/ 102 h 414"/>
                <a:gd name="T38" fmla="*/ 324 w 600"/>
                <a:gd name="T39" fmla="*/ 84 h 414"/>
                <a:gd name="T40" fmla="*/ 336 w 600"/>
                <a:gd name="T41" fmla="*/ 60 h 414"/>
                <a:gd name="T42" fmla="*/ 348 w 600"/>
                <a:gd name="T43" fmla="*/ 30 h 414"/>
                <a:gd name="T44" fmla="*/ 360 w 600"/>
                <a:gd name="T45" fmla="*/ 6 h 414"/>
                <a:gd name="T46" fmla="*/ 384 w 600"/>
                <a:gd name="T47" fmla="*/ 0 h 414"/>
                <a:gd name="T48" fmla="*/ 396 w 600"/>
                <a:gd name="T49" fmla="*/ 18 h 414"/>
                <a:gd name="T50" fmla="*/ 414 w 600"/>
                <a:gd name="T51" fmla="*/ 36 h 414"/>
                <a:gd name="T52" fmla="*/ 438 w 600"/>
                <a:gd name="T53" fmla="*/ 36 h 414"/>
                <a:gd name="T54" fmla="*/ 468 w 600"/>
                <a:gd name="T55" fmla="*/ 36 h 414"/>
                <a:gd name="T56" fmla="*/ 492 w 600"/>
                <a:gd name="T57" fmla="*/ 36 h 414"/>
                <a:gd name="T58" fmla="*/ 510 w 600"/>
                <a:gd name="T59" fmla="*/ 36 h 414"/>
                <a:gd name="T60" fmla="*/ 504 w 600"/>
                <a:gd name="T61" fmla="*/ 36 h 414"/>
                <a:gd name="T62" fmla="*/ 510 w 600"/>
                <a:gd name="T63" fmla="*/ 36 h 414"/>
                <a:gd name="T64" fmla="*/ 534 w 600"/>
                <a:gd name="T65" fmla="*/ 42 h 414"/>
                <a:gd name="T66" fmla="*/ 552 w 600"/>
                <a:gd name="T67" fmla="*/ 54 h 414"/>
                <a:gd name="T68" fmla="*/ 564 w 600"/>
                <a:gd name="T69" fmla="*/ 72 h 414"/>
                <a:gd name="T70" fmla="*/ 570 w 600"/>
                <a:gd name="T71" fmla="*/ 102 h 414"/>
                <a:gd name="T72" fmla="*/ 570 w 600"/>
                <a:gd name="T73" fmla="*/ 120 h 414"/>
                <a:gd name="T74" fmla="*/ 576 w 600"/>
                <a:gd name="T75" fmla="*/ 144 h 414"/>
                <a:gd name="T76" fmla="*/ 600 w 600"/>
                <a:gd name="T77" fmla="*/ 174 h 414"/>
                <a:gd name="T78" fmla="*/ 594 w 600"/>
                <a:gd name="T79" fmla="*/ 192 h 414"/>
                <a:gd name="T80" fmla="*/ 576 w 600"/>
                <a:gd name="T81" fmla="*/ 186 h 414"/>
                <a:gd name="T82" fmla="*/ 546 w 600"/>
                <a:gd name="T83" fmla="*/ 186 h 414"/>
                <a:gd name="T84" fmla="*/ 510 w 600"/>
                <a:gd name="T85" fmla="*/ 192 h 414"/>
                <a:gd name="T86" fmla="*/ 510 w 600"/>
                <a:gd name="T87" fmla="*/ 210 h 414"/>
                <a:gd name="T88" fmla="*/ 474 w 600"/>
                <a:gd name="T89" fmla="*/ 216 h 414"/>
                <a:gd name="T90" fmla="*/ 462 w 600"/>
                <a:gd name="T91" fmla="*/ 234 h 414"/>
                <a:gd name="T92" fmla="*/ 474 w 600"/>
                <a:gd name="T93" fmla="*/ 252 h 414"/>
                <a:gd name="T94" fmla="*/ 444 w 600"/>
                <a:gd name="T95" fmla="*/ 258 h 414"/>
                <a:gd name="T96" fmla="*/ 420 w 600"/>
                <a:gd name="T97" fmla="*/ 264 h 414"/>
                <a:gd name="T98" fmla="*/ 408 w 600"/>
                <a:gd name="T99" fmla="*/ 282 h 414"/>
                <a:gd name="T100" fmla="*/ 390 w 600"/>
                <a:gd name="T101" fmla="*/ 294 h 414"/>
                <a:gd name="T102" fmla="*/ 366 w 600"/>
                <a:gd name="T103" fmla="*/ 306 h 414"/>
                <a:gd name="T104" fmla="*/ 336 w 600"/>
                <a:gd name="T105" fmla="*/ 312 h 414"/>
                <a:gd name="T106" fmla="*/ 312 w 600"/>
                <a:gd name="T107" fmla="*/ 312 h 414"/>
                <a:gd name="T108" fmla="*/ 288 w 600"/>
                <a:gd name="T109" fmla="*/ 318 h 414"/>
                <a:gd name="T110" fmla="*/ 270 w 600"/>
                <a:gd name="T111" fmla="*/ 330 h 414"/>
                <a:gd name="T112" fmla="*/ 246 w 600"/>
                <a:gd name="T113" fmla="*/ 342 h 414"/>
                <a:gd name="T114" fmla="*/ 222 w 600"/>
                <a:gd name="T115" fmla="*/ 360 h 414"/>
                <a:gd name="T116" fmla="*/ 0 w 600"/>
                <a:gd name="T117" fmla="*/ 408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0"/>
                <a:gd name="T178" fmla="*/ 0 h 414"/>
                <a:gd name="T179" fmla="*/ 600 w 600"/>
                <a:gd name="T180" fmla="*/ 414 h 4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5" name="Freeform 7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1336" y="1213"/>
              <a:ext cx="520" cy="531"/>
            </a:xfrm>
            <a:custGeom>
              <a:avLst/>
              <a:gdLst>
                <a:gd name="T0" fmla="*/ 558 w 612"/>
                <a:gd name="T1" fmla="*/ 78 h 624"/>
                <a:gd name="T2" fmla="*/ 522 w 612"/>
                <a:gd name="T3" fmla="*/ 114 h 624"/>
                <a:gd name="T4" fmla="*/ 534 w 612"/>
                <a:gd name="T5" fmla="*/ 192 h 624"/>
                <a:gd name="T6" fmla="*/ 540 w 612"/>
                <a:gd name="T7" fmla="*/ 228 h 624"/>
                <a:gd name="T8" fmla="*/ 552 w 612"/>
                <a:gd name="T9" fmla="*/ 354 h 624"/>
                <a:gd name="T10" fmla="*/ 558 w 612"/>
                <a:gd name="T11" fmla="*/ 396 h 624"/>
                <a:gd name="T12" fmla="*/ 570 w 612"/>
                <a:gd name="T13" fmla="*/ 510 h 624"/>
                <a:gd name="T14" fmla="*/ 570 w 612"/>
                <a:gd name="T15" fmla="*/ 582 h 624"/>
                <a:gd name="T16" fmla="*/ 492 w 612"/>
                <a:gd name="T17" fmla="*/ 582 h 624"/>
                <a:gd name="T18" fmla="*/ 432 w 612"/>
                <a:gd name="T19" fmla="*/ 582 h 624"/>
                <a:gd name="T20" fmla="*/ 384 w 612"/>
                <a:gd name="T21" fmla="*/ 576 h 624"/>
                <a:gd name="T22" fmla="*/ 360 w 612"/>
                <a:gd name="T23" fmla="*/ 588 h 624"/>
                <a:gd name="T24" fmla="*/ 336 w 612"/>
                <a:gd name="T25" fmla="*/ 588 h 624"/>
                <a:gd name="T26" fmla="*/ 318 w 612"/>
                <a:gd name="T27" fmla="*/ 594 h 624"/>
                <a:gd name="T28" fmla="*/ 306 w 612"/>
                <a:gd name="T29" fmla="*/ 606 h 624"/>
                <a:gd name="T30" fmla="*/ 294 w 612"/>
                <a:gd name="T31" fmla="*/ 588 h 624"/>
                <a:gd name="T32" fmla="*/ 276 w 612"/>
                <a:gd name="T33" fmla="*/ 576 h 624"/>
                <a:gd name="T34" fmla="*/ 264 w 612"/>
                <a:gd name="T35" fmla="*/ 588 h 624"/>
                <a:gd name="T36" fmla="*/ 264 w 612"/>
                <a:gd name="T37" fmla="*/ 612 h 624"/>
                <a:gd name="T38" fmla="*/ 246 w 612"/>
                <a:gd name="T39" fmla="*/ 618 h 624"/>
                <a:gd name="T40" fmla="*/ 228 w 612"/>
                <a:gd name="T41" fmla="*/ 612 h 624"/>
                <a:gd name="T42" fmla="*/ 210 w 612"/>
                <a:gd name="T43" fmla="*/ 600 h 624"/>
                <a:gd name="T44" fmla="*/ 204 w 612"/>
                <a:gd name="T45" fmla="*/ 588 h 624"/>
                <a:gd name="T46" fmla="*/ 192 w 612"/>
                <a:gd name="T47" fmla="*/ 576 h 624"/>
                <a:gd name="T48" fmla="*/ 180 w 612"/>
                <a:gd name="T49" fmla="*/ 552 h 624"/>
                <a:gd name="T50" fmla="*/ 162 w 612"/>
                <a:gd name="T51" fmla="*/ 546 h 624"/>
                <a:gd name="T52" fmla="*/ 150 w 612"/>
                <a:gd name="T53" fmla="*/ 534 h 624"/>
                <a:gd name="T54" fmla="*/ 132 w 612"/>
                <a:gd name="T55" fmla="*/ 528 h 624"/>
                <a:gd name="T56" fmla="*/ 108 w 612"/>
                <a:gd name="T57" fmla="*/ 528 h 624"/>
                <a:gd name="T58" fmla="*/ 102 w 612"/>
                <a:gd name="T59" fmla="*/ 522 h 624"/>
                <a:gd name="T60" fmla="*/ 96 w 612"/>
                <a:gd name="T61" fmla="*/ 528 h 624"/>
                <a:gd name="T62" fmla="*/ 84 w 612"/>
                <a:gd name="T63" fmla="*/ 528 h 624"/>
                <a:gd name="T64" fmla="*/ 66 w 612"/>
                <a:gd name="T65" fmla="*/ 534 h 624"/>
                <a:gd name="T66" fmla="*/ 48 w 612"/>
                <a:gd name="T67" fmla="*/ 528 h 624"/>
                <a:gd name="T68" fmla="*/ 36 w 612"/>
                <a:gd name="T69" fmla="*/ 540 h 624"/>
                <a:gd name="T70" fmla="*/ 30 w 612"/>
                <a:gd name="T71" fmla="*/ 552 h 624"/>
                <a:gd name="T72" fmla="*/ 30 w 612"/>
                <a:gd name="T73" fmla="*/ 540 h 624"/>
                <a:gd name="T74" fmla="*/ 36 w 612"/>
                <a:gd name="T75" fmla="*/ 516 h 624"/>
                <a:gd name="T76" fmla="*/ 54 w 612"/>
                <a:gd name="T77" fmla="*/ 474 h 624"/>
                <a:gd name="T78" fmla="*/ 54 w 612"/>
                <a:gd name="T79" fmla="*/ 450 h 624"/>
                <a:gd name="T80" fmla="*/ 48 w 612"/>
                <a:gd name="T81" fmla="*/ 426 h 624"/>
                <a:gd name="T82" fmla="*/ 36 w 612"/>
                <a:gd name="T83" fmla="*/ 402 h 624"/>
                <a:gd name="T84" fmla="*/ 36 w 612"/>
                <a:gd name="T85" fmla="*/ 390 h 624"/>
                <a:gd name="T86" fmla="*/ 36 w 612"/>
                <a:gd name="T87" fmla="*/ 390 h 624"/>
                <a:gd name="T88" fmla="*/ 36 w 612"/>
                <a:gd name="T89" fmla="*/ 378 h 624"/>
                <a:gd name="T90" fmla="*/ 42 w 612"/>
                <a:gd name="T91" fmla="*/ 360 h 624"/>
                <a:gd name="T92" fmla="*/ 42 w 612"/>
                <a:gd name="T93" fmla="*/ 342 h 624"/>
                <a:gd name="T94" fmla="*/ 30 w 612"/>
                <a:gd name="T95" fmla="*/ 330 h 624"/>
                <a:gd name="T96" fmla="*/ 24 w 612"/>
                <a:gd name="T97" fmla="*/ 324 h 624"/>
                <a:gd name="T98" fmla="*/ 12 w 612"/>
                <a:gd name="T99" fmla="*/ 312 h 624"/>
                <a:gd name="T100" fmla="*/ 12 w 612"/>
                <a:gd name="T101" fmla="*/ 306 h 624"/>
                <a:gd name="T102" fmla="*/ 12 w 612"/>
                <a:gd name="T103" fmla="*/ 306 h 624"/>
                <a:gd name="T104" fmla="*/ 12 w 612"/>
                <a:gd name="T105" fmla="*/ 294 h 624"/>
                <a:gd name="T106" fmla="*/ 6 w 612"/>
                <a:gd name="T107" fmla="*/ 312 h 624"/>
                <a:gd name="T108" fmla="*/ 0 w 612"/>
                <a:gd name="T109" fmla="*/ 324 h 624"/>
                <a:gd name="T110" fmla="*/ 6 w 612"/>
                <a:gd name="T111" fmla="*/ 306 h 624"/>
                <a:gd name="T112" fmla="*/ 108 w 612"/>
                <a:gd name="T113" fmla="*/ 294 h 624"/>
                <a:gd name="T114" fmla="*/ 198 w 612"/>
                <a:gd name="T115" fmla="*/ 264 h 624"/>
                <a:gd name="T116" fmla="*/ 204 w 612"/>
                <a:gd name="T117" fmla="*/ 204 h 624"/>
                <a:gd name="T118" fmla="*/ 216 w 612"/>
                <a:gd name="T119" fmla="*/ 192 h 624"/>
                <a:gd name="T120" fmla="*/ 252 w 612"/>
                <a:gd name="T121" fmla="*/ 60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12"/>
                <a:gd name="T184" fmla="*/ 0 h 624"/>
                <a:gd name="T185" fmla="*/ 612 w 612"/>
                <a:gd name="T186" fmla="*/ 624 h 6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8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36" y="1193"/>
              <a:ext cx="357" cy="296"/>
            </a:xfrm>
            <a:custGeom>
              <a:avLst/>
              <a:gdLst>
                <a:gd name="T0" fmla="*/ 264 w 420"/>
                <a:gd name="T1" fmla="*/ 0 h 348"/>
                <a:gd name="T2" fmla="*/ 348 w 420"/>
                <a:gd name="T3" fmla="*/ 0 h 348"/>
                <a:gd name="T4" fmla="*/ 420 w 420"/>
                <a:gd name="T5" fmla="*/ 24 h 348"/>
                <a:gd name="T6" fmla="*/ 420 w 420"/>
                <a:gd name="T7" fmla="*/ 84 h 348"/>
                <a:gd name="T8" fmla="*/ 252 w 420"/>
                <a:gd name="T9" fmla="*/ 144 h 348"/>
                <a:gd name="T10" fmla="*/ 246 w 420"/>
                <a:gd name="T11" fmla="*/ 210 h 348"/>
                <a:gd name="T12" fmla="*/ 210 w 420"/>
                <a:gd name="T13" fmla="*/ 216 h 348"/>
                <a:gd name="T14" fmla="*/ 204 w 420"/>
                <a:gd name="T15" fmla="*/ 222 h 348"/>
                <a:gd name="T16" fmla="*/ 204 w 420"/>
                <a:gd name="T17" fmla="*/ 234 h 348"/>
                <a:gd name="T18" fmla="*/ 198 w 420"/>
                <a:gd name="T19" fmla="*/ 246 h 348"/>
                <a:gd name="T20" fmla="*/ 204 w 420"/>
                <a:gd name="T21" fmla="*/ 300 h 348"/>
                <a:gd name="T22" fmla="*/ 162 w 420"/>
                <a:gd name="T23" fmla="*/ 318 h 348"/>
                <a:gd name="T24" fmla="*/ 60 w 420"/>
                <a:gd name="T25" fmla="*/ 318 h 348"/>
                <a:gd name="T26" fmla="*/ 6 w 420"/>
                <a:gd name="T27" fmla="*/ 318 h 348"/>
                <a:gd name="T28" fmla="*/ 6 w 420"/>
                <a:gd name="T29" fmla="*/ 336 h 348"/>
                <a:gd name="T30" fmla="*/ 0 w 420"/>
                <a:gd name="T31" fmla="*/ 342 h 348"/>
                <a:gd name="T32" fmla="*/ 0 w 420"/>
                <a:gd name="T33" fmla="*/ 342 h 348"/>
                <a:gd name="T34" fmla="*/ 0 w 420"/>
                <a:gd name="T35" fmla="*/ 330 h 348"/>
                <a:gd name="T36" fmla="*/ 6 w 420"/>
                <a:gd name="T37" fmla="*/ 318 h 348"/>
                <a:gd name="T38" fmla="*/ 6 w 420"/>
                <a:gd name="T39" fmla="*/ 306 h 348"/>
                <a:gd name="T40" fmla="*/ 6 w 420"/>
                <a:gd name="T41" fmla="*/ 294 h 348"/>
                <a:gd name="T42" fmla="*/ 12 w 420"/>
                <a:gd name="T43" fmla="*/ 282 h 348"/>
                <a:gd name="T44" fmla="*/ 18 w 420"/>
                <a:gd name="T45" fmla="*/ 276 h 348"/>
                <a:gd name="T46" fmla="*/ 24 w 420"/>
                <a:gd name="T47" fmla="*/ 270 h 348"/>
                <a:gd name="T48" fmla="*/ 30 w 420"/>
                <a:gd name="T49" fmla="*/ 264 h 348"/>
                <a:gd name="T50" fmla="*/ 36 w 420"/>
                <a:gd name="T51" fmla="*/ 252 h 348"/>
                <a:gd name="T52" fmla="*/ 42 w 420"/>
                <a:gd name="T53" fmla="*/ 246 h 348"/>
                <a:gd name="T54" fmla="*/ 48 w 420"/>
                <a:gd name="T55" fmla="*/ 240 h 348"/>
                <a:gd name="T56" fmla="*/ 48 w 420"/>
                <a:gd name="T57" fmla="*/ 228 h 348"/>
                <a:gd name="T58" fmla="*/ 48 w 420"/>
                <a:gd name="T59" fmla="*/ 228 h 348"/>
                <a:gd name="T60" fmla="*/ 54 w 420"/>
                <a:gd name="T61" fmla="*/ 222 h 348"/>
                <a:gd name="T62" fmla="*/ 60 w 420"/>
                <a:gd name="T63" fmla="*/ 210 h 348"/>
                <a:gd name="T64" fmla="*/ 60 w 420"/>
                <a:gd name="T65" fmla="*/ 210 h 348"/>
                <a:gd name="T66" fmla="*/ 66 w 420"/>
                <a:gd name="T67" fmla="*/ 198 h 348"/>
                <a:gd name="T68" fmla="*/ 72 w 420"/>
                <a:gd name="T69" fmla="*/ 192 h 348"/>
                <a:gd name="T70" fmla="*/ 72 w 420"/>
                <a:gd name="T71" fmla="*/ 192 h 348"/>
                <a:gd name="T72" fmla="*/ 60 w 420"/>
                <a:gd name="T73" fmla="*/ 192 h 348"/>
                <a:gd name="T74" fmla="*/ 60 w 420"/>
                <a:gd name="T75" fmla="*/ 204 h 348"/>
                <a:gd name="T76" fmla="*/ 54 w 420"/>
                <a:gd name="T77" fmla="*/ 198 h 348"/>
                <a:gd name="T78" fmla="*/ 60 w 420"/>
                <a:gd name="T79" fmla="*/ 192 h 348"/>
                <a:gd name="T80" fmla="*/ 72 w 420"/>
                <a:gd name="T81" fmla="*/ 186 h 348"/>
                <a:gd name="T82" fmla="*/ 78 w 420"/>
                <a:gd name="T83" fmla="*/ 180 h 348"/>
                <a:gd name="T84" fmla="*/ 84 w 420"/>
                <a:gd name="T85" fmla="*/ 174 h 348"/>
                <a:gd name="T86" fmla="*/ 90 w 420"/>
                <a:gd name="T87" fmla="*/ 162 h 348"/>
                <a:gd name="T88" fmla="*/ 102 w 420"/>
                <a:gd name="T89" fmla="*/ 156 h 348"/>
                <a:gd name="T90" fmla="*/ 108 w 420"/>
                <a:gd name="T91" fmla="*/ 150 h 348"/>
                <a:gd name="T92" fmla="*/ 114 w 420"/>
                <a:gd name="T93" fmla="*/ 138 h 348"/>
                <a:gd name="T94" fmla="*/ 114 w 420"/>
                <a:gd name="T95" fmla="*/ 126 h 348"/>
                <a:gd name="T96" fmla="*/ 114 w 420"/>
                <a:gd name="T97" fmla="*/ 114 h 348"/>
                <a:gd name="T98" fmla="*/ 120 w 420"/>
                <a:gd name="T99" fmla="*/ 102 h 348"/>
                <a:gd name="T100" fmla="*/ 126 w 420"/>
                <a:gd name="T101" fmla="*/ 96 h 348"/>
                <a:gd name="T102" fmla="*/ 132 w 420"/>
                <a:gd name="T103" fmla="*/ 84 h 348"/>
                <a:gd name="T104" fmla="*/ 132 w 420"/>
                <a:gd name="T105" fmla="*/ 72 h 348"/>
                <a:gd name="T106" fmla="*/ 144 w 420"/>
                <a:gd name="T107" fmla="*/ 66 h 348"/>
                <a:gd name="T108" fmla="*/ 156 w 420"/>
                <a:gd name="T109" fmla="*/ 60 h 348"/>
                <a:gd name="T110" fmla="*/ 174 w 420"/>
                <a:gd name="T111" fmla="*/ 54 h 348"/>
                <a:gd name="T112" fmla="*/ 180 w 420"/>
                <a:gd name="T113" fmla="*/ 48 h 348"/>
                <a:gd name="T114" fmla="*/ 180 w 420"/>
                <a:gd name="T115" fmla="*/ 30 h 348"/>
                <a:gd name="T116" fmla="*/ 186 w 420"/>
                <a:gd name="T117" fmla="*/ 24 h 348"/>
                <a:gd name="T118" fmla="*/ 192 w 420"/>
                <a:gd name="T119" fmla="*/ 18 h 348"/>
                <a:gd name="T120" fmla="*/ 192 w 420"/>
                <a:gd name="T121" fmla="*/ 18 h 348"/>
                <a:gd name="T122" fmla="*/ 192 w 420"/>
                <a:gd name="T123" fmla="*/ 6 h 348"/>
                <a:gd name="T124" fmla="*/ 198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348"/>
                <a:gd name="T191" fmla="*/ 420 w 420"/>
                <a:gd name="T192" fmla="*/ 348 h 3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7" name="Freeform 9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93" y="795"/>
              <a:ext cx="872" cy="770"/>
            </a:xfrm>
            <a:custGeom>
              <a:avLst/>
              <a:gdLst>
                <a:gd name="T0" fmla="*/ 18 w 1026"/>
                <a:gd name="T1" fmla="*/ 408 h 906"/>
                <a:gd name="T2" fmla="*/ 48 w 1026"/>
                <a:gd name="T3" fmla="*/ 384 h 906"/>
                <a:gd name="T4" fmla="*/ 78 w 1026"/>
                <a:gd name="T5" fmla="*/ 372 h 906"/>
                <a:gd name="T6" fmla="*/ 114 w 1026"/>
                <a:gd name="T7" fmla="*/ 372 h 906"/>
                <a:gd name="T8" fmla="*/ 156 w 1026"/>
                <a:gd name="T9" fmla="*/ 360 h 906"/>
                <a:gd name="T10" fmla="*/ 180 w 1026"/>
                <a:gd name="T11" fmla="*/ 342 h 906"/>
                <a:gd name="T12" fmla="*/ 198 w 1026"/>
                <a:gd name="T13" fmla="*/ 318 h 906"/>
                <a:gd name="T14" fmla="*/ 240 w 1026"/>
                <a:gd name="T15" fmla="*/ 312 h 906"/>
                <a:gd name="T16" fmla="*/ 240 w 1026"/>
                <a:gd name="T17" fmla="*/ 294 h 906"/>
                <a:gd name="T18" fmla="*/ 270 w 1026"/>
                <a:gd name="T19" fmla="*/ 270 h 906"/>
                <a:gd name="T20" fmla="*/ 282 w 1026"/>
                <a:gd name="T21" fmla="*/ 252 h 906"/>
                <a:gd name="T22" fmla="*/ 330 w 1026"/>
                <a:gd name="T23" fmla="*/ 246 h 906"/>
                <a:gd name="T24" fmla="*/ 360 w 1026"/>
                <a:gd name="T25" fmla="*/ 252 h 906"/>
                <a:gd name="T26" fmla="*/ 378 w 1026"/>
                <a:gd name="T27" fmla="*/ 234 h 906"/>
                <a:gd name="T28" fmla="*/ 348 w 1026"/>
                <a:gd name="T29" fmla="*/ 198 h 906"/>
                <a:gd name="T30" fmla="*/ 348 w 1026"/>
                <a:gd name="T31" fmla="*/ 168 h 906"/>
                <a:gd name="T32" fmla="*/ 342 w 1026"/>
                <a:gd name="T33" fmla="*/ 126 h 906"/>
                <a:gd name="T34" fmla="*/ 324 w 1026"/>
                <a:gd name="T35" fmla="*/ 102 h 906"/>
                <a:gd name="T36" fmla="*/ 354 w 1026"/>
                <a:gd name="T37" fmla="*/ 96 h 906"/>
                <a:gd name="T38" fmla="*/ 378 w 1026"/>
                <a:gd name="T39" fmla="*/ 72 h 906"/>
                <a:gd name="T40" fmla="*/ 402 w 1026"/>
                <a:gd name="T41" fmla="*/ 66 h 906"/>
                <a:gd name="T42" fmla="*/ 432 w 1026"/>
                <a:gd name="T43" fmla="*/ 66 h 906"/>
                <a:gd name="T44" fmla="*/ 456 w 1026"/>
                <a:gd name="T45" fmla="*/ 42 h 906"/>
                <a:gd name="T46" fmla="*/ 492 w 1026"/>
                <a:gd name="T47" fmla="*/ 30 h 906"/>
                <a:gd name="T48" fmla="*/ 534 w 1026"/>
                <a:gd name="T49" fmla="*/ 30 h 906"/>
                <a:gd name="T50" fmla="*/ 564 w 1026"/>
                <a:gd name="T51" fmla="*/ 24 h 906"/>
                <a:gd name="T52" fmla="*/ 600 w 1026"/>
                <a:gd name="T53" fmla="*/ 18 h 906"/>
                <a:gd name="T54" fmla="*/ 636 w 1026"/>
                <a:gd name="T55" fmla="*/ 12 h 906"/>
                <a:gd name="T56" fmla="*/ 678 w 1026"/>
                <a:gd name="T57" fmla="*/ 18 h 906"/>
                <a:gd name="T58" fmla="*/ 708 w 1026"/>
                <a:gd name="T59" fmla="*/ 18 h 906"/>
                <a:gd name="T60" fmla="*/ 744 w 1026"/>
                <a:gd name="T61" fmla="*/ 6 h 906"/>
                <a:gd name="T62" fmla="*/ 762 w 1026"/>
                <a:gd name="T63" fmla="*/ 6 h 906"/>
                <a:gd name="T64" fmla="*/ 786 w 1026"/>
                <a:gd name="T65" fmla="*/ 12 h 906"/>
                <a:gd name="T66" fmla="*/ 798 w 1026"/>
                <a:gd name="T67" fmla="*/ 6 h 906"/>
                <a:gd name="T68" fmla="*/ 822 w 1026"/>
                <a:gd name="T69" fmla="*/ 12 h 906"/>
                <a:gd name="T70" fmla="*/ 852 w 1026"/>
                <a:gd name="T71" fmla="*/ 18 h 906"/>
                <a:gd name="T72" fmla="*/ 834 w 1026"/>
                <a:gd name="T73" fmla="*/ 30 h 906"/>
                <a:gd name="T74" fmla="*/ 846 w 1026"/>
                <a:gd name="T75" fmla="*/ 48 h 906"/>
                <a:gd name="T76" fmla="*/ 846 w 1026"/>
                <a:gd name="T77" fmla="*/ 78 h 906"/>
                <a:gd name="T78" fmla="*/ 846 w 1026"/>
                <a:gd name="T79" fmla="*/ 102 h 906"/>
                <a:gd name="T80" fmla="*/ 834 w 1026"/>
                <a:gd name="T81" fmla="*/ 132 h 906"/>
                <a:gd name="T82" fmla="*/ 804 w 1026"/>
                <a:gd name="T83" fmla="*/ 156 h 906"/>
                <a:gd name="T84" fmla="*/ 816 w 1026"/>
                <a:gd name="T85" fmla="*/ 198 h 906"/>
                <a:gd name="T86" fmla="*/ 882 w 1026"/>
                <a:gd name="T87" fmla="*/ 252 h 906"/>
                <a:gd name="T88" fmla="*/ 900 w 1026"/>
                <a:gd name="T89" fmla="*/ 342 h 906"/>
                <a:gd name="T90" fmla="*/ 918 w 1026"/>
                <a:gd name="T91" fmla="*/ 408 h 906"/>
                <a:gd name="T92" fmla="*/ 918 w 1026"/>
                <a:gd name="T93" fmla="*/ 450 h 906"/>
                <a:gd name="T94" fmla="*/ 918 w 1026"/>
                <a:gd name="T95" fmla="*/ 492 h 906"/>
                <a:gd name="T96" fmla="*/ 918 w 1026"/>
                <a:gd name="T97" fmla="*/ 528 h 906"/>
                <a:gd name="T98" fmla="*/ 918 w 1026"/>
                <a:gd name="T99" fmla="*/ 570 h 906"/>
                <a:gd name="T100" fmla="*/ 954 w 1026"/>
                <a:gd name="T101" fmla="*/ 624 h 906"/>
                <a:gd name="T102" fmla="*/ 1008 w 1026"/>
                <a:gd name="T103" fmla="*/ 642 h 906"/>
                <a:gd name="T104" fmla="*/ 786 w 1026"/>
                <a:gd name="T105" fmla="*/ 822 h 906"/>
                <a:gd name="T106" fmla="*/ 594 w 1026"/>
                <a:gd name="T107" fmla="*/ 900 h 906"/>
                <a:gd name="T108" fmla="*/ 588 w 1026"/>
                <a:gd name="T109" fmla="*/ 876 h 906"/>
                <a:gd name="T110" fmla="*/ 576 w 1026"/>
                <a:gd name="T111" fmla="*/ 852 h 906"/>
                <a:gd name="T112" fmla="*/ 546 w 1026"/>
                <a:gd name="T113" fmla="*/ 846 h 906"/>
                <a:gd name="T114" fmla="*/ 522 w 1026"/>
                <a:gd name="T115" fmla="*/ 840 h 906"/>
                <a:gd name="T116" fmla="*/ 498 w 1026"/>
                <a:gd name="T117" fmla="*/ 816 h 906"/>
                <a:gd name="T118" fmla="*/ 420 w 1026"/>
                <a:gd name="T119" fmla="*/ 750 h 906"/>
                <a:gd name="T120" fmla="*/ 162 w 1026"/>
                <a:gd name="T121" fmla="*/ 588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6"/>
                <a:gd name="T184" fmla="*/ 0 h 906"/>
                <a:gd name="T185" fmla="*/ 1026 w 1026"/>
                <a:gd name="T186" fmla="*/ 906 h 90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1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065" y="1372"/>
              <a:ext cx="668" cy="499"/>
            </a:xfrm>
            <a:custGeom>
              <a:avLst/>
              <a:gdLst>
                <a:gd name="T0" fmla="*/ 18 w 786"/>
                <a:gd name="T1" fmla="*/ 426 h 588"/>
                <a:gd name="T2" fmla="*/ 54 w 786"/>
                <a:gd name="T3" fmla="*/ 408 h 588"/>
                <a:gd name="T4" fmla="*/ 144 w 786"/>
                <a:gd name="T5" fmla="*/ 408 h 588"/>
                <a:gd name="T6" fmla="*/ 174 w 786"/>
                <a:gd name="T7" fmla="*/ 396 h 588"/>
                <a:gd name="T8" fmla="*/ 186 w 786"/>
                <a:gd name="T9" fmla="*/ 384 h 588"/>
                <a:gd name="T10" fmla="*/ 192 w 786"/>
                <a:gd name="T11" fmla="*/ 342 h 588"/>
                <a:gd name="T12" fmla="*/ 234 w 786"/>
                <a:gd name="T13" fmla="*/ 210 h 588"/>
                <a:gd name="T14" fmla="*/ 348 w 786"/>
                <a:gd name="T15" fmla="*/ 144 h 588"/>
                <a:gd name="T16" fmla="*/ 546 w 786"/>
                <a:gd name="T17" fmla="*/ 24 h 588"/>
                <a:gd name="T18" fmla="*/ 624 w 786"/>
                <a:gd name="T19" fmla="*/ 6 h 588"/>
                <a:gd name="T20" fmla="*/ 660 w 786"/>
                <a:gd name="T21" fmla="*/ 12 h 588"/>
                <a:gd name="T22" fmla="*/ 696 w 786"/>
                <a:gd name="T23" fmla="*/ 42 h 588"/>
                <a:gd name="T24" fmla="*/ 744 w 786"/>
                <a:gd name="T25" fmla="*/ 96 h 588"/>
                <a:gd name="T26" fmla="*/ 762 w 786"/>
                <a:gd name="T27" fmla="*/ 126 h 588"/>
                <a:gd name="T28" fmla="*/ 774 w 786"/>
                <a:gd name="T29" fmla="*/ 144 h 588"/>
                <a:gd name="T30" fmla="*/ 774 w 786"/>
                <a:gd name="T31" fmla="*/ 186 h 588"/>
                <a:gd name="T32" fmla="*/ 768 w 786"/>
                <a:gd name="T33" fmla="*/ 216 h 588"/>
                <a:gd name="T34" fmla="*/ 732 w 786"/>
                <a:gd name="T35" fmla="*/ 354 h 588"/>
                <a:gd name="T36" fmla="*/ 702 w 786"/>
                <a:gd name="T37" fmla="*/ 390 h 588"/>
                <a:gd name="T38" fmla="*/ 678 w 786"/>
                <a:gd name="T39" fmla="*/ 426 h 588"/>
                <a:gd name="T40" fmla="*/ 672 w 786"/>
                <a:gd name="T41" fmla="*/ 444 h 588"/>
                <a:gd name="T42" fmla="*/ 666 w 786"/>
                <a:gd name="T43" fmla="*/ 486 h 588"/>
                <a:gd name="T44" fmla="*/ 648 w 786"/>
                <a:gd name="T45" fmla="*/ 492 h 588"/>
                <a:gd name="T46" fmla="*/ 642 w 786"/>
                <a:gd name="T47" fmla="*/ 498 h 588"/>
                <a:gd name="T48" fmla="*/ 642 w 786"/>
                <a:gd name="T49" fmla="*/ 498 h 588"/>
                <a:gd name="T50" fmla="*/ 630 w 786"/>
                <a:gd name="T51" fmla="*/ 498 h 588"/>
                <a:gd name="T52" fmla="*/ 618 w 786"/>
                <a:gd name="T53" fmla="*/ 510 h 588"/>
                <a:gd name="T54" fmla="*/ 618 w 786"/>
                <a:gd name="T55" fmla="*/ 510 h 588"/>
                <a:gd name="T56" fmla="*/ 600 w 786"/>
                <a:gd name="T57" fmla="*/ 516 h 588"/>
                <a:gd name="T58" fmla="*/ 588 w 786"/>
                <a:gd name="T59" fmla="*/ 516 h 588"/>
                <a:gd name="T60" fmla="*/ 570 w 786"/>
                <a:gd name="T61" fmla="*/ 504 h 588"/>
                <a:gd name="T62" fmla="*/ 540 w 786"/>
                <a:gd name="T63" fmla="*/ 504 h 588"/>
                <a:gd name="T64" fmla="*/ 492 w 786"/>
                <a:gd name="T65" fmla="*/ 510 h 588"/>
                <a:gd name="T66" fmla="*/ 474 w 786"/>
                <a:gd name="T67" fmla="*/ 534 h 588"/>
                <a:gd name="T68" fmla="*/ 444 w 786"/>
                <a:gd name="T69" fmla="*/ 528 h 588"/>
                <a:gd name="T70" fmla="*/ 420 w 786"/>
                <a:gd name="T71" fmla="*/ 522 h 588"/>
                <a:gd name="T72" fmla="*/ 402 w 786"/>
                <a:gd name="T73" fmla="*/ 510 h 588"/>
                <a:gd name="T74" fmla="*/ 372 w 786"/>
                <a:gd name="T75" fmla="*/ 510 h 588"/>
                <a:gd name="T76" fmla="*/ 342 w 786"/>
                <a:gd name="T77" fmla="*/ 522 h 588"/>
                <a:gd name="T78" fmla="*/ 312 w 786"/>
                <a:gd name="T79" fmla="*/ 492 h 588"/>
                <a:gd name="T80" fmla="*/ 294 w 786"/>
                <a:gd name="T81" fmla="*/ 486 h 588"/>
                <a:gd name="T82" fmla="*/ 252 w 786"/>
                <a:gd name="T83" fmla="*/ 486 h 588"/>
                <a:gd name="T84" fmla="*/ 234 w 786"/>
                <a:gd name="T85" fmla="*/ 480 h 588"/>
                <a:gd name="T86" fmla="*/ 198 w 786"/>
                <a:gd name="T87" fmla="*/ 522 h 588"/>
                <a:gd name="T88" fmla="*/ 174 w 786"/>
                <a:gd name="T89" fmla="*/ 546 h 588"/>
                <a:gd name="T90" fmla="*/ 174 w 786"/>
                <a:gd name="T91" fmla="*/ 576 h 588"/>
                <a:gd name="T92" fmla="*/ 162 w 786"/>
                <a:gd name="T93" fmla="*/ 576 h 588"/>
                <a:gd name="T94" fmla="*/ 150 w 786"/>
                <a:gd name="T95" fmla="*/ 564 h 588"/>
                <a:gd name="T96" fmla="*/ 132 w 786"/>
                <a:gd name="T97" fmla="*/ 552 h 588"/>
                <a:gd name="T98" fmla="*/ 114 w 786"/>
                <a:gd name="T99" fmla="*/ 558 h 588"/>
                <a:gd name="T100" fmla="*/ 114 w 786"/>
                <a:gd name="T101" fmla="*/ 570 h 588"/>
                <a:gd name="T102" fmla="*/ 96 w 786"/>
                <a:gd name="T103" fmla="*/ 558 h 588"/>
                <a:gd name="T104" fmla="*/ 102 w 786"/>
                <a:gd name="T105" fmla="*/ 540 h 588"/>
                <a:gd name="T106" fmla="*/ 84 w 786"/>
                <a:gd name="T107" fmla="*/ 540 h 588"/>
                <a:gd name="T108" fmla="*/ 42 w 786"/>
                <a:gd name="T109" fmla="*/ 504 h 588"/>
                <a:gd name="T110" fmla="*/ 48 w 786"/>
                <a:gd name="T111" fmla="*/ 498 h 588"/>
                <a:gd name="T112" fmla="*/ 30 w 786"/>
                <a:gd name="T113" fmla="*/ 492 h 588"/>
                <a:gd name="T114" fmla="*/ 18 w 786"/>
                <a:gd name="T115" fmla="*/ 480 h 588"/>
                <a:gd name="T116" fmla="*/ 12 w 786"/>
                <a:gd name="T117" fmla="*/ 462 h 588"/>
                <a:gd name="T118" fmla="*/ 0 w 786"/>
                <a:gd name="T119" fmla="*/ 444 h 588"/>
                <a:gd name="T120" fmla="*/ 6 w 786"/>
                <a:gd name="T121" fmla="*/ 420 h 5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588"/>
                <a:gd name="T185" fmla="*/ 786 w 786"/>
                <a:gd name="T186" fmla="*/ 588 h 5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588">
                  <a:moveTo>
                    <a:pt x="6" y="420"/>
                  </a:moveTo>
                  <a:lnTo>
                    <a:pt x="12" y="426"/>
                  </a:lnTo>
                  <a:lnTo>
                    <a:pt x="18" y="420"/>
                  </a:lnTo>
                  <a:lnTo>
                    <a:pt x="18" y="426"/>
                  </a:lnTo>
                  <a:lnTo>
                    <a:pt x="24" y="426"/>
                  </a:lnTo>
                  <a:lnTo>
                    <a:pt x="30" y="426"/>
                  </a:lnTo>
                  <a:lnTo>
                    <a:pt x="42" y="426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84" y="408"/>
                  </a:lnTo>
                  <a:lnTo>
                    <a:pt x="120" y="402"/>
                  </a:lnTo>
                  <a:lnTo>
                    <a:pt x="144" y="408"/>
                  </a:lnTo>
                  <a:lnTo>
                    <a:pt x="168" y="408"/>
                  </a:lnTo>
                  <a:lnTo>
                    <a:pt x="168" y="402"/>
                  </a:lnTo>
                  <a:lnTo>
                    <a:pt x="168" y="396"/>
                  </a:lnTo>
                  <a:lnTo>
                    <a:pt x="174" y="396"/>
                  </a:lnTo>
                  <a:lnTo>
                    <a:pt x="174" y="390"/>
                  </a:lnTo>
                  <a:lnTo>
                    <a:pt x="180" y="390"/>
                  </a:lnTo>
                  <a:lnTo>
                    <a:pt x="186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92" y="372"/>
                  </a:lnTo>
                  <a:lnTo>
                    <a:pt x="192" y="354"/>
                  </a:lnTo>
                  <a:lnTo>
                    <a:pt x="192" y="342"/>
                  </a:lnTo>
                  <a:lnTo>
                    <a:pt x="192" y="330"/>
                  </a:lnTo>
                  <a:lnTo>
                    <a:pt x="204" y="324"/>
                  </a:lnTo>
                  <a:lnTo>
                    <a:pt x="204" y="216"/>
                  </a:lnTo>
                  <a:lnTo>
                    <a:pt x="234" y="210"/>
                  </a:lnTo>
                  <a:lnTo>
                    <a:pt x="282" y="204"/>
                  </a:lnTo>
                  <a:lnTo>
                    <a:pt x="312" y="174"/>
                  </a:lnTo>
                  <a:lnTo>
                    <a:pt x="330" y="156"/>
                  </a:lnTo>
                  <a:lnTo>
                    <a:pt x="348" y="144"/>
                  </a:lnTo>
                  <a:lnTo>
                    <a:pt x="360" y="132"/>
                  </a:lnTo>
                  <a:lnTo>
                    <a:pt x="420" y="96"/>
                  </a:lnTo>
                  <a:lnTo>
                    <a:pt x="468" y="66"/>
                  </a:lnTo>
                  <a:lnTo>
                    <a:pt x="546" y="24"/>
                  </a:lnTo>
                  <a:lnTo>
                    <a:pt x="588" y="0"/>
                  </a:lnTo>
                  <a:lnTo>
                    <a:pt x="594" y="0"/>
                  </a:lnTo>
                  <a:lnTo>
                    <a:pt x="606" y="6"/>
                  </a:lnTo>
                  <a:lnTo>
                    <a:pt x="624" y="6"/>
                  </a:lnTo>
                  <a:lnTo>
                    <a:pt x="630" y="6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0" y="18"/>
                  </a:lnTo>
                  <a:lnTo>
                    <a:pt x="666" y="18"/>
                  </a:lnTo>
                  <a:lnTo>
                    <a:pt x="672" y="24"/>
                  </a:lnTo>
                  <a:lnTo>
                    <a:pt x="696" y="42"/>
                  </a:lnTo>
                  <a:lnTo>
                    <a:pt x="738" y="24"/>
                  </a:lnTo>
                  <a:lnTo>
                    <a:pt x="744" y="54"/>
                  </a:lnTo>
                  <a:lnTo>
                    <a:pt x="744" y="72"/>
                  </a:lnTo>
                  <a:lnTo>
                    <a:pt x="744" y="96"/>
                  </a:lnTo>
                  <a:lnTo>
                    <a:pt x="744" y="102"/>
                  </a:lnTo>
                  <a:lnTo>
                    <a:pt x="750" y="102"/>
                  </a:lnTo>
                  <a:lnTo>
                    <a:pt x="768" y="126"/>
                  </a:lnTo>
                  <a:lnTo>
                    <a:pt x="762" y="126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80" y="150"/>
                  </a:lnTo>
                  <a:lnTo>
                    <a:pt x="786" y="156"/>
                  </a:lnTo>
                  <a:lnTo>
                    <a:pt x="774" y="174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68" y="210"/>
                  </a:lnTo>
                  <a:lnTo>
                    <a:pt x="768" y="216"/>
                  </a:lnTo>
                  <a:lnTo>
                    <a:pt x="768" y="222"/>
                  </a:lnTo>
                  <a:lnTo>
                    <a:pt x="768" y="234"/>
                  </a:lnTo>
                  <a:lnTo>
                    <a:pt x="762" y="330"/>
                  </a:lnTo>
                  <a:lnTo>
                    <a:pt x="732" y="354"/>
                  </a:lnTo>
                  <a:lnTo>
                    <a:pt x="726" y="366"/>
                  </a:lnTo>
                  <a:lnTo>
                    <a:pt x="720" y="372"/>
                  </a:lnTo>
                  <a:lnTo>
                    <a:pt x="708" y="384"/>
                  </a:lnTo>
                  <a:lnTo>
                    <a:pt x="702" y="390"/>
                  </a:lnTo>
                  <a:lnTo>
                    <a:pt x="696" y="396"/>
                  </a:lnTo>
                  <a:lnTo>
                    <a:pt x="684" y="414"/>
                  </a:lnTo>
                  <a:lnTo>
                    <a:pt x="678" y="420"/>
                  </a:lnTo>
                  <a:lnTo>
                    <a:pt x="678" y="426"/>
                  </a:lnTo>
                  <a:lnTo>
                    <a:pt x="678" y="432"/>
                  </a:lnTo>
                  <a:lnTo>
                    <a:pt x="678" y="438"/>
                  </a:lnTo>
                  <a:lnTo>
                    <a:pt x="672" y="438"/>
                  </a:lnTo>
                  <a:lnTo>
                    <a:pt x="672" y="444"/>
                  </a:lnTo>
                  <a:lnTo>
                    <a:pt x="666" y="444"/>
                  </a:lnTo>
                  <a:lnTo>
                    <a:pt x="660" y="450"/>
                  </a:lnTo>
                  <a:lnTo>
                    <a:pt x="660" y="456"/>
                  </a:lnTo>
                  <a:lnTo>
                    <a:pt x="666" y="486"/>
                  </a:lnTo>
                  <a:lnTo>
                    <a:pt x="660" y="486"/>
                  </a:lnTo>
                  <a:lnTo>
                    <a:pt x="654" y="486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0" y="498"/>
                  </a:lnTo>
                  <a:lnTo>
                    <a:pt x="630" y="504"/>
                  </a:lnTo>
                  <a:lnTo>
                    <a:pt x="624" y="504"/>
                  </a:lnTo>
                  <a:lnTo>
                    <a:pt x="624" y="510"/>
                  </a:lnTo>
                  <a:lnTo>
                    <a:pt x="618" y="510"/>
                  </a:lnTo>
                  <a:lnTo>
                    <a:pt x="618" y="504"/>
                  </a:lnTo>
                  <a:lnTo>
                    <a:pt x="618" y="510"/>
                  </a:lnTo>
                  <a:lnTo>
                    <a:pt x="612" y="510"/>
                  </a:lnTo>
                  <a:lnTo>
                    <a:pt x="618" y="510"/>
                  </a:lnTo>
                  <a:lnTo>
                    <a:pt x="618" y="516"/>
                  </a:lnTo>
                  <a:lnTo>
                    <a:pt x="612" y="516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70" y="510"/>
                  </a:lnTo>
                  <a:lnTo>
                    <a:pt x="570" y="504"/>
                  </a:lnTo>
                  <a:lnTo>
                    <a:pt x="564" y="504"/>
                  </a:lnTo>
                  <a:lnTo>
                    <a:pt x="558" y="504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22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2" y="510"/>
                  </a:lnTo>
                  <a:lnTo>
                    <a:pt x="486" y="516"/>
                  </a:lnTo>
                  <a:lnTo>
                    <a:pt x="480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62" y="528"/>
                  </a:lnTo>
                  <a:lnTo>
                    <a:pt x="456" y="528"/>
                  </a:lnTo>
                  <a:lnTo>
                    <a:pt x="450" y="528"/>
                  </a:lnTo>
                  <a:lnTo>
                    <a:pt x="444" y="528"/>
                  </a:lnTo>
                  <a:lnTo>
                    <a:pt x="438" y="528"/>
                  </a:lnTo>
                  <a:lnTo>
                    <a:pt x="432" y="528"/>
                  </a:lnTo>
                  <a:lnTo>
                    <a:pt x="426" y="528"/>
                  </a:lnTo>
                  <a:lnTo>
                    <a:pt x="420" y="522"/>
                  </a:lnTo>
                  <a:lnTo>
                    <a:pt x="414" y="516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402" y="510"/>
                  </a:lnTo>
                  <a:lnTo>
                    <a:pt x="396" y="510"/>
                  </a:lnTo>
                  <a:lnTo>
                    <a:pt x="390" y="504"/>
                  </a:lnTo>
                  <a:lnTo>
                    <a:pt x="378" y="504"/>
                  </a:lnTo>
                  <a:lnTo>
                    <a:pt x="372" y="510"/>
                  </a:lnTo>
                  <a:lnTo>
                    <a:pt x="360" y="516"/>
                  </a:lnTo>
                  <a:lnTo>
                    <a:pt x="348" y="516"/>
                  </a:lnTo>
                  <a:lnTo>
                    <a:pt x="348" y="522"/>
                  </a:lnTo>
                  <a:lnTo>
                    <a:pt x="342" y="522"/>
                  </a:lnTo>
                  <a:lnTo>
                    <a:pt x="336" y="522"/>
                  </a:lnTo>
                  <a:lnTo>
                    <a:pt x="330" y="516"/>
                  </a:lnTo>
                  <a:lnTo>
                    <a:pt x="324" y="504"/>
                  </a:lnTo>
                  <a:lnTo>
                    <a:pt x="312" y="492"/>
                  </a:lnTo>
                  <a:lnTo>
                    <a:pt x="306" y="486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294" y="486"/>
                  </a:lnTo>
                  <a:lnTo>
                    <a:pt x="276" y="480"/>
                  </a:lnTo>
                  <a:lnTo>
                    <a:pt x="264" y="480"/>
                  </a:lnTo>
                  <a:lnTo>
                    <a:pt x="258" y="480"/>
                  </a:lnTo>
                  <a:lnTo>
                    <a:pt x="252" y="486"/>
                  </a:lnTo>
                  <a:lnTo>
                    <a:pt x="246" y="486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34" y="480"/>
                  </a:lnTo>
                  <a:lnTo>
                    <a:pt x="216" y="486"/>
                  </a:lnTo>
                  <a:lnTo>
                    <a:pt x="198" y="498"/>
                  </a:lnTo>
                  <a:lnTo>
                    <a:pt x="198" y="516"/>
                  </a:lnTo>
                  <a:lnTo>
                    <a:pt x="198" y="522"/>
                  </a:lnTo>
                  <a:lnTo>
                    <a:pt x="192" y="528"/>
                  </a:lnTo>
                  <a:lnTo>
                    <a:pt x="186" y="534"/>
                  </a:lnTo>
                  <a:lnTo>
                    <a:pt x="180" y="540"/>
                  </a:lnTo>
                  <a:lnTo>
                    <a:pt x="174" y="546"/>
                  </a:lnTo>
                  <a:lnTo>
                    <a:pt x="174" y="558"/>
                  </a:lnTo>
                  <a:lnTo>
                    <a:pt x="174" y="564"/>
                  </a:lnTo>
                  <a:lnTo>
                    <a:pt x="174" y="570"/>
                  </a:lnTo>
                  <a:lnTo>
                    <a:pt x="174" y="576"/>
                  </a:lnTo>
                  <a:lnTo>
                    <a:pt x="174" y="582"/>
                  </a:lnTo>
                  <a:lnTo>
                    <a:pt x="168" y="588"/>
                  </a:lnTo>
                  <a:lnTo>
                    <a:pt x="168" y="582"/>
                  </a:lnTo>
                  <a:lnTo>
                    <a:pt x="162" y="576"/>
                  </a:lnTo>
                  <a:lnTo>
                    <a:pt x="156" y="576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2" y="552"/>
                  </a:lnTo>
                  <a:lnTo>
                    <a:pt x="126" y="552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64"/>
                  </a:lnTo>
                  <a:lnTo>
                    <a:pt x="114" y="564"/>
                  </a:lnTo>
                  <a:lnTo>
                    <a:pt x="114" y="570"/>
                  </a:lnTo>
                  <a:lnTo>
                    <a:pt x="114" y="576"/>
                  </a:lnTo>
                  <a:lnTo>
                    <a:pt x="108" y="576"/>
                  </a:lnTo>
                  <a:lnTo>
                    <a:pt x="114" y="576"/>
                  </a:lnTo>
                  <a:lnTo>
                    <a:pt x="96" y="558"/>
                  </a:lnTo>
                  <a:lnTo>
                    <a:pt x="96" y="552"/>
                  </a:lnTo>
                  <a:lnTo>
                    <a:pt x="102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0" y="534"/>
                  </a:lnTo>
                  <a:lnTo>
                    <a:pt x="84" y="540"/>
                  </a:lnTo>
                  <a:lnTo>
                    <a:pt x="72" y="540"/>
                  </a:lnTo>
                  <a:lnTo>
                    <a:pt x="42" y="522"/>
                  </a:lnTo>
                  <a:lnTo>
                    <a:pt x="42" y="516"/>
                  </a:lnTo>
                  <a:lnTo>
                    <a:pt x="42" y="504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2" y="498"/>
                  </a:lnTo>
                  <a:lnTo>
                    <a:pt x="42" y="492"/>
                  </a:lnTo>
                  <a:lnTo>
                    <a:pt x="36" y="492"/>
                  </a:lnTo>
                  <a:lnTo>
                    <a:pt x="30" y="492"/>
                  </a:lnTo>
                  <a:lnTo>
                    <a:pt x="30" y="486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6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0" y="438"/>
                  </a:lnTo>
                  <a:lnTo>
                    <a:pt x="0" y="432"/>
                  </a:lnTo>
                  <a:lnTo>
                    <a:pt x="6" y="426"/>
                  </a:lnTo>
                  <a:lnTo>
                    <a:pt x="6" y="4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1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453" y="964"/>
              <a:ext cx="668" cy="576"/>
            </a:xfrm>
            <a:custGeom>
              <a:avLst/>
              <a:gdLst>
                <a:gd name="T0" fmla="*/ 30 w 786"/>
                <a:gd name="T1" fmla="*/ 132 h 678"/>
                <a:gd name="T2" fmla="*/ 48 w 786"/>
                <a:gd name="T3" fmla="*/ 114 h 678"/>
                <a:gd name="T4" fmla="*/ 42 w 786"/>
                <a:gd name="T5" fmla="*/ 84 h 678"/>
                <a:gd name="T6" fmla="*/ 60 w 786"/>
                <a:gd name="T7" fmla="*/ 66 h 678"/>
                <a:gd name="T8" fmla="*/ 78 w 786"/>
                <a:gd name="T9" fmla="*/ 54 h 678"/>
                <a:gd name="T10" fmla="*/ 108 w 786"/>
                <a:gd name="T11" fmla="*/ 42 h 678"/>
                <a:gd name="T12" fmla="*/ 108 w 786"/>
                <a:gd name="T13" fmla="*/ 18 h 678"/>
                <a:gd name="T14" fmla="*/ 120 w 786"/>
                <a:gd name="T15" fmla="*/ 6 h 678"/>
                <a:gd name="T16" fmla="*/ 138 w 786"/>
                <a:gd name="T17" fmla="*/ 12 h 678"/>
                <a:gd name="T18" fmla="*/ 168 w 786"/>
                <a:gd name="T19" fmla="*/ 18 h 678"/>
                <a:gd name="T20" fmla="*/ 198 w 786"/>
                <a:gd name="T21" fmla="*/ 12 h 678"/>
                <a:gd name="T22" fmla="*/ 222 w 786"/>
                <a:gd name="T23" fmla="*/ 18 h 678"/>
                <a:gd name="T24" fmla="*/ 252 w 786"/>
                <a:gd name="T25" fmla="*/ 30 h 678"/>
                <a:gd name="T26" fmla="*/ 276 w 786"/>
                <a:gd name="T27" fmla="*/ 36 h 678"/>
                <a:gd name="T28" fmla="*/ 300 w 786"/>
                <a:gd name="T29" fmla="*/ 48 h 678"/>
                <a:gd name="T30" fmla="*/ 306 w 786"/>
                <a:gd name="T31" fmla="*/ 72 h 678"/>
                <a:gd name="T32" fmla="*/ 330 w 786"/>
                <a:gd name="T33" fmla="*/ 90 h 678"/>
                <a:gd name="T34" fmla="*/ 354 w 786"/>
                <a:gd name="T35" fmla="*/ 96 h 678"/>
                <a:gd name="T36" fmla="*/ 390 w 786"/>
                <a:gd name="T37" fmla="*/ 102 h 678"/>
                <a:gd name="T38" fmla="*/ 414 w 786"/>
                <a:gd name="T39" fmla="*/ 108 h 678"/>
                <a:gd name="T40" fmla="*/ 432 w 786"/>
                <a:gd name="T41" fmla="*/ 114 h 678"/>
                <a:gd name="T42" fmla="*/ 456 w 786"/>
                <a:gd name="T43" fmla="*/ 132 h 678"/>
                <a:gd name="T44" fmla="*/ 480 w 786"/>
                <a:gd name="T45" fmla="*/ 144 h 678"/>
                <a:gd name="T46" fmla="*/ 510 w 786"/>
                <a:gd name="T47" fmla="*/ 138 h 678"/>
                <a:gd name="T48" fmla="*/ 534 w 786"/>
                <a:gd name="T49" fmla="*/ 108 h 678"/>
                <a:gd name="T50" fmla="*/ 528 w 786"/>
                <a:gd name="T51" fmla="*/ 90 h 678"/>
                <a:gd name="T52" fmla="*/ 528 w 786"/>
                <a:gd name="T53" fmla="*/ 60 h 678"/>
                <a:gd name="T54" fmla="*/ 534 w 786"/>
                <a:gd name="T55" fmla="*/ 48 h 678"/>
                <a:gd name="T56" fmla="*/ 552 w 786"/>
                <a:gd name="T57" fmla="*/ 30 h 678"/>
                <a:gd name="T58" fmla="*/ 594 w 786"/>
                <a:gd name="T59" fmla="*/ 18 h 678"/>
                <a:gd name="T60" fmla="*/ 618 w 786"/>
                <a:gd name="T61" fmla="*/ 12 h 678"/>
                <a:gd name="T62" fmla="*/ 648 w 786"/>
                <a:gd name="T63" fmla="*/ 12 h 678"/>
                <a:gd name="T64" fmla="*/ 672 w 786"/>
                <a:gd name="T65" fmla="*/ 24 h 678"/>
                <a:gd name="T66" fmla="*/ 684 w 786"/>
                <a:gd name="T67" fmla="*/ 42 h 678"/>
                <a:gd name="T68" fmla="*/ 708 w 786"/>
                <a:gd name="T69" fmla="*/ 48 h 678"/>
                <a:gd name="T70" fmla="*/ 732 w 786"/>
                <a:gd name="T71" fmla="*/ 54 h 678"/>
                <a:gd name="T72" fmla="*/ 762 w 786"/>
                <a:gd name="T73" fmla="*/ 54 h 678"/>
                <a:gd name="T74" fmla="*/ 780 w 786"/>
                <a:gd name="T75" fmla="*/ 66 h 678"/>
                <a:gd name="T76" fmla="*/ 786 w 786"/>
                <a:gd name="T77" fmla="*/ 78 h 678"/>
                <a:gd name="T78" fmla="*/ 774 w 786"/>
                <a:gd name="T79" fmla="*/ 96 h 678"/>
                <a:gd name="T80" fmla="*/ 780 w 786"/>
                <a:gd name="T81" fmla="*/ 120 h 678"/>
                <a:gd name="T82" fmla="*/ 762 w 786"/>
                <a:gd name="T83" fmla="*/ 150 h 678"/>
                <a:gd name="T84" fmla="*/ 774 w 786"/>
                <a:gd name="T85" fmla="*/ 180 h 678"/>
                <a:gd name="T86" fmla="*/ 780 w 786"/>
                <a:gd name="T87" fmla="*/ 192 h 678"/>
                <a:gd name="T88" fmla="*/ 690 w 786"/>
                <a:gd name="T89" fmla="*/ 660 h 678"/>
                <a:gd name="T90" fmla="*/ 582 w 786"/>
                <a:gd name="T91" fmla="*/ 606 h 678"/>
                <a:gd name="T92" fmla="*/ 432 w 786"/>
                <a:gd name="T93" fmla="*/ 534 h 678"/>
                <a:gd name="T94" fmla="*/ 312 w 786"/>
                <a:gd name="T95" fmla="*/ 492 h 678"/>
                <a:gd name="T96" fmla="*/ 204 w 786"/>
                <a:gd name="T97" fmla="*/ 498 h 678"/>
                <a:gd name="T98" fmla="*/ 168 w 786"/>
                <a:gd name="T99" fmla="*/ 486 h 678"/>
                <a:gd name="T100" fmla="*/ 114 w 786"/>
                <a:gd name="T101" fmla="*/ 444 h 678"/>
                <a:gd name="T102" fmla="*/ 78 w 786"/>
                <a:gd name="T103" fmla="*/ 432 h 678"/>
                <a:gd name="T104" fmla="*/ 42 w 786"/>
                <a:gd name="T105" fmla="*/ 420 h 678"/>
                <a:gd name="T106" fmla="*/ 0 w 786"/>
                <a:gd name="T107" fmla="*/ 348 h 678"/>
                <a:gd name="T108" fmla="*/ 18 w 786"/>
                <a:gd name="T109" fmla="*/ 336 h 678"/>
                <a:gd name="T110" fmla="*/ 24 w 786"/>
                <a:gd name="T111" fmla="*/ 312 h 678"/>
                <a:gd name="T112" fmla="*/ 24 w 786"/>
                <a:gd name="T113" fmla="*/ 282 h 678"/>
                <a:gd name="T114" fmla="*/ 24 w 786"/>
                <a:gd name="T115" fmla="*/ 252 h 678"/>
                <a:gd name="T116" fmla="*/ 30 w 786"/>
                <a:gd name="T117" fmla="*/ 216 h 678"/>
                <a:gd name="T118" fmla="*/ 12 w 786"/>
                <a:gd name="T119" fmla="*/ 162 h 678"/>
                <a:gd name="T120" fmla="*/ 12 w 786"/>
                <a:gd name="T121" fmla="*/ 144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678"/>
                <a:gd name="T185" fmla="*/ 786 w 786"/>
                <a:gd name="T186" fmla="*/ 678 h 6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376" y="785"/>
              <a:ext cx="174" cy="301"/>
            </a:xfrm>
            <a:custGeom>
              <a:avLst/>
              <a:gdLst>
                <a:gd name="T0" fmla="*/ 66 w 204"/>
                <a:gd name="T1" fmla="*/ 18 h 354"/>
                <a:gd name="T2" fmla="*/ 84 w 204"/>
                <a:gd name="T3" fmla="*/ 6 h 354"/>
                <a:gd name="T4" fmla="*/ 108 w 204"/>
                <a:gd name="T5" fmla="*/ 0 h 354"/>
                <a:gd name="T6" fmla="*/ 114 w 204"/>
                <a:gd name="T7" fmla="*/ 6 h 354"/>
                <a:gd name="T8" fmla="*/ 114 w 204"/>
                <a:gd name="T9" fmla="*/ 6 h 354"/>
                <a:gd name="T10" fmla="*/ 132 w 204"/>
                <a:gd name="T11" fmla="*/ 12 h 354"/>
                <a:gd name="T12" fmla="*/ 138 w 204"/>
                <a:gd name="T13" fmla="*/ 24 h 354"/>
                <a:gd name="T14" fmla="*/ 150 w 204"/>
                <a:gd name="T15" fmla="*/ 30 h 354"/>
                <a:gd name="T16" fmla="*/ 168 w 204"/>
                <a:gd name="T17" fmla="*/ 18 h 354"/>
                <a:gd name="T18" fmla="*/ 180 w 204"/>
                <a:gd name="T19" fmla="*/ 24 h 354"/>
                <a:gd name="T20" fmla="*/ 168 w 204"/>
                <a:gd name="T21" fmla="*/ 42 h 354"/>
                <a:gd name="T22" fmla="*/ 150 w 204"/>
                <a:gd name="T23" fmla="*/ 48 h 354"/>
                <a:gd name="T24" fmla="*/ 144 w 204"/>
                <a:gd name="T25" fmla="*/ 66 h 354"/>
                <a:gd name="T26" fmla="*/ 162 w 204"/>
                <a:gd name="T27" fmla="*/ 78 h 354"/>
                <a:gd name="T28" fmla="*/ 174 w 204"/>
                <a:gd name="T29" fmla="*/ 90 h 354"/>
                <a:gd name="T30" fmla="*/ 174 w 204"/>
                <a:gd name="T31" fmla="*/ 108 h 354"/>
                <a:gd name="T32" fmla="*/ 168 w 204"/>
                <a:gd name="T33" fmla="*/ 126 h 354"/>
                <a:gd name="T34" fmla="*/ 150 w 204"/>
                <a:gd name="T35" fmla="*/ 138 h 354"/>
                <a:gd name="T36" fmla="*/ 138 w 204"/>
                <a:gd name="T37" fmla="*/ 144 h 354"/>
                <a:gd name="T38" fmla="*/ 126 w 204"/>
                <a:gd name="T39" fmla="*/ 156 h 354"/>
                <a:gd name="T40" fmla="*/ 132 w 204"/>
                <a:gd name="T41" fmla="*/ 174 h 354"/>
                <a:gd name="T42" fmla="*/ 138 w 204"/>
                <a:gd name="T43" fmla="*/ 180 h 354"/>
                <a:gd name="T44" fmla="*/ 156 w 204"/>
                <a:gd name="T45" fmla="*/ 180 h 354"/>
                <a:gd name="T46" fmla="*/ 162 w 204"/>
                <a:gd name="T47" fmla="*/ 186 h 354"/>
                <a:gd name="T48" fmla="*/ 168 w 204"/>
                <a:gd name="T49" fmla="*/ 192 h 354"/>
                <a:gd name="T50" fmla="*/ 180 w 204"/>
                <a:gd name="T51" fmla="*/ 198 h 354"/>
                <a:gd name="T52" fmla="*/ 180 w 204"/>
                <a:gd name="T53" fmla="*/ 210 h 354"/>
                <a:gd name="T54" fmla="*/ 186 w 204"/>
                <a:gd name="T55" fmla="*/ 204 h 354"/>
                <a:gd name="T56" fmla="*/ 198 w 204"/>
                <a:gd name="T57" fmla="*/ 216 h 354"/>
                <a:gd name="T58" fmla="*/ 198 w 204"/>
                <a:gd name="T59" fmla="*/ 240 h 354"/>
                <a:gd name="T60" fmla="*/ 192 w 204"/>
                <a:gd name="T61" fmla="*/ 252 h 354"/>
                <a:gd name="T62" fmla="*/ 168 w 204"/>
                <a:gd name="T63" fmla="*/ 264 h 354"/>
                <a:gd name="T64" fmla="*/ 156 w 204"/>
                <a:gd name="T65" fmla="*/ 276 h 354"/>
                <a:gd name="T66" fmla="*/ 138 w 204"/>
                <a:gd name="T67" fmla="*/ 282 h 354"/>
                <a:gd name="T68" fmla="*/ 132 w 204"/>
                <a:gd name="T69" fmla="*/ 306 h 354"/>
                <a:gd name="T70" fmla="*/ 132 w 204"/>
                <a:gd name="T71" fmla="*/ 330 h 354"/>
                <a:gd name="T72" fmla="*/ 120 w 204"/>
                <a:gd name="T73" fmla="*/ 342 h 354"/>
                <a:gd name="T74" fmla="*/ 102 w 204"/>
                <a:gd name="T75" fmla="*/ 354 h 354"/>
                <a:gd name="T76" fmla="*/ 78 w 204"/>
                <a:gd name="T77" fmla="*/ 276 h 354"/>
                <a:gd name="T78" fmla="*/ 42 w 204"/>
                <a:gd name="T79" fmla="*/ 234 h 354"/>
                <a:gd name="T80" fmla="*/ 18 w 204"/>
                <a:gd name="T81" fmla="*/ 210 h 354"/>
                <a:gd name="T82" fmla="*/ 6 w 204"/>
                <a:gd name="T83" fmla="*/ 192 h 354"/>
                <a:gd name="T84" fmla="*/ 0 w 204"/>
                <a:gd name="T85" fmla="*/ 168 h 354"/>
                <a:gd name="T86" fmla="*/ 12 w 204"/>
                <a:gd name="T87" fmla="*/ 156 h 354"/>
                <a:gd name="T88" fmla="*/ 30 w 204"/>
                <a:gd name="T89" fmla="*/ 138 h 354"/>
                <a:gd name="T90" fmla="*/ 36 w 204"/>
                <a:gd name="T91" fmla="*/ 120 h 354"/>
                <a:gd name="T92" fmla="*/ 48 w 204"/>
                <a:gd name="T93" fmla="*/ 108 h 354"/>
                <a:gd name="T94" fmla="*/ 42 w 204"/>
                <a:gd name="T95" fmla="*/ 96 h 354"/>
                <a:gd name="T96" fmla="*/ 36 w 204"/>
                <a:gd name="T97" fmla="*/ 78 h 354"/>
                <a:gd name="T98" fmla="*/ 42 w 204"/>
                <a:gd name="T99" fmla="*/ 60 h 354"/>
                <a:gd name="T100" fmla="*/ 42 w 204"/>
                <a:gd name="T101" fmla="*/ 48 h 354"/>
                <a:gd name="T102" fmla="*/ 36 w 204"/>
                <a:gd name="T103" fmla="*/ 42 h 354"/>
                <a:gd name="T104" fmla="*/ 48 w 204"/>
                <a:gd name="T105" fmla="*/ 30 h 354"/>
                <a:gd name="T106" fmla="*/ 54 w 204"/>
                <a:gd name="T107" fmla="*/ 24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4"/>
                <a:gd name="T163" fmla="*/ 0 h 354"/>
                <a:gd name="T164" fmla="*/ 204 w 204"/>
                <a:gd name="T165" fmla="*/ 354 h 3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1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316" y="1657"/>
              <a:ext cx="265" cy="189"/>
            </a:xfrm>
            <a:custGeom>
              <a:avLst/>
              <a:gdLst>
                <a:gd name="T0" fmla="*/ 54 w 312"/>
                <a:gd name="T1" fmla="*/ 30 h 222"/>
                <a:gd name="T2" fmla="*/ 66 w 312"/>
                <a:gd name="T3" fmla="*/ 12 h 222"/>
                <a:gd name="T4" fmla="*/ 78 w 312"/>
                <a:gd name="T5" fmla="*/ 12 h 222"/>
                <a:gd name="T6" fmla="*/ 102 w 312"/>
                <a:gd name="T7" fmla="*/ 12 h 222"/>
                <a:gd name="T8" fmla="*/ 108 w 312"/>
                <a:gd name="T9" fmla="*/ 6 h 222"/>
                <a:gd name="T10" fmla="*/ 120 w 312"/>
                <a:gd name="T11" fmla="*/ 6 h 222"/>
                <a:gd name="T12" fmla="*/ 126 w 312"/>
                <a:gd name="T13" fmla="*/ 0 h 222"/>
                <a:gd name="T14" fmla="*/ 144 w 312"/>
                <a:gd name="T15" fmla="*/ 6 h 222"/>
                <a:gd name="T16" fmla="*/ 168 w 312"/>
                <a:gd name="T17" fmla="*/ 6 h 222"/>
                <a:gd name="T18" fmla="*/ 180 w 312"/>
                <a:gd name="T19" fmla="*/ 18 h 222"/>
                <a:gd name="T20" fmla="*/ 192 w 312"/>
                <a:gd name="T21" fmla="*/ 30 h 222"/>
                <a:gd name="T22" fmla="*/ 210 w 312"/>
                <a:gd name="T23" fmla="*/ 42 h 222"/>
                <a:gd name="T24" fmla="*/ 222 w 312"/>
                <a:gd name="T25" fmla="*/ 60 h 222"/>
                <a:gd name="T26" fmla="*/ 228 w 312"/>
                <a:gd name="T27" fmla="*/ 66 h 222"/>
                <a:gd name="T28" fmla="*/ 246 w 312"/>
                <a:gd name="T29" fmla="*/ 84 h 222"/>
                <a:gd name="T30" fmla="*/ 258 w 312"/>
                <a:gd name="T31" fmla="*/ 96 h 222"/>
                <a:gd name="T32" fmla="*/ 270 w 312"/>
                <a:gd name="T33" fmla="*/ 108 h 222"/>
                <a:gd name="T34" fmla="*/ 270 w 312"/>
                <a:gd name="T35" fmla="*/ 120 h 222"/>
                <a:gd name="T36" fmla="*/ 276 w 312"/>
                <a:gd name="T37" fmla="*/ 138 h 222"/>
                <a:gd name="T38" fmla="*/ 276 w 312"/>
                <a:gd name="T39" fmla="*/ 156 h 222"/>
                <a:gd name="T40" fmla="*/ 294 w 312"/>
                <a:gd name="T41" fmla="*/ 168 h 222"/>
                <a:gd name="T42" fmla="*/ 306 w 312"/>
                <a:gd name="T43" fmla="*/ 180 h 222"/>
                <a:gd name="T44" fmla="*/ 306 w 312"/>
                <a:gd name="T45" fmla="*/ 198 h 222"/>
                <a:gd name="T46" fmla="*/ 306 w 312"/>
                <a:gd name="T47" fmla="*/ 216 h 222"/>
                <a:gd name="T48" fmla="*/ 282 w 312"/>
                <a:gd name="T49" fmla="*/ 216 h 222"/>
                <a:gd name="T50" fmla="*/ 264 w 312"/>
                <a:gd name="T51" fmla="*/ 222 h 222"/>
                <a:gd name="T52" fmla="*/ 246 w 312"/>
                <a:gd name="T53" fmla="*/ 216 h 222"/>
                <a:gd name="T54" fmla="*/ 228 w 312"/>
                <a:gd name="T55" fmla="*/ 210 h 222"/>
                <a:gd name="T56" fmla="*/ 216 w 312"/>
                <a:gd name="T57" fmla="*/ 204 h 222"/>
                <a:gd name="T58" fmla="*/ 138 w 312"/>
                <a:gd name="T59" fmla="*/ 204 h 222"/>
                <a:gd name="T60" fmla="*/ 108 w 312"/>
                <a:gd name="T61" fmla="*/ 210 h 222"/>
                <a:gd name="T62" fmla="*/ 78 w 312"/>
                <a:gd name="T63" fmla="*/ 210 h 222"/>
                <a:gd name="T64" fmla="*/ 54 w 312"/>
                <a:gd name="T65" fmla="*/ 216 h 222"/>
                <a:gd name="T66" fmla="*/ 48 w 312"/>
                <a:gd name="T67" fmla="*/ 210 h 222"/>
                <a:gd name="T68" fmla="*/ 60 w 312"/>
                <a:gd name="T69" fmla="*/ 204 h 222"/>
                <a:gd name="T70" fmla="*/ 42 w 312"/>
                <a:gd name="T71" fmla="*/ 210 h 222"/>
                <a:gd name="T72" fmla="*/ 42 w 312"/>
                <a:gd name="T73" fmla="*/ 198 h 222"/>
                <a:gd name="T74" fmla="*/ 60 w 312"/>
                <a:gd name="T75" fmla="*/ 180 h 222"/>
                <a:gd name="T76" fmla="*/ 96 w 312"/>
                <a:gd name="T77" fmla="*/ 168 h 222"/>
                <a:gd name="T78" fmla="*/ 120 w 312"/>
                <a:gd name="T79" fmla="*/ 168 h 222"/>
                <a:gd name="T80" fmla="*/ 126 w 312"/>
                <a:gd name="T81" fmla="*/ 162 h 222"/>
                <a:gd name="T82" fmla="*/ 144 w 312"/>
                <a:gd name="T83" fmla="*/ 168 h 222"/>
                <a:gd name="T84" fmla="*/ 162 w 312"/>
                <a:gd name="T85" fmla="*/ 174 h 222"/>
                <a:gd name="T86" fmla="*/ 180 w 312"/>
                <a:gd name="T87" fmla="*/ 168 h 222"/>
                <a:gd name="T88" fmla="*/ 174 w 312"/>
                <a:gd name="T89" fmla="*/ 156 h 222"/>
                <a:gd name="T90" fmla="*/ 156 w 312"/>
                <a:gd name="T91" fmla="*/ 156 h 222"/>
                <a:gd name="T92" fmla="*/ 138 w 312"/>
                <a:gd name="T93" fmla="*/ 150 h 222"/>
                <a:gd name="T94" fmla="*/ 120 w 312"/>
                <a:gd name="T95" fmla="*/ 150 h 222"/>
                <a:gd name="T96" fmla="*/ 108 w 312"/>
                <a:gd name="T97" fmla="*/ 150 h 222"/>
                <a:gd name="T98" fmla="*/ 48 w 312"/>
                <a:gd name="T99" fmla="*/ 156 h 222"/>
                <a:gd name="T100" fmla="*/ 48 w 312"/>
                <a:gd name="T101" fmla="*/ 144 h 222"/>
                <a:gd name="T102" fmla="*/ 42 w 312"/>
                <a:gd name="T103" fmla="*/ 138 h 222"/>
                <a:gd name="T104" fmla="*/ 36 w 312"/>
                <a:gd name="T105" fmla="*/ 132 h 222"/>
                <a:gd name="T106" fmla="*/ 30 w 312"/>
                <a:gd name="T107" fmla="*/ 114 h 222"/>
                <a:gd name="T108" fmla="*/ 18 w 312"/>
                <a:gd name="T109" fmla="*/ 102 h 222"/>
                <a:gd name="T110" fmla="*/ 6 w 312"/>
                <a:gd name="T111" fmla="*/ 96 h 222"/>
                <a:gd name="T112" fmla="*/ 30 w 312"/>
                <a:gd name="T113" fmla="*/ 84 h 222"/>
                <a:gd name="T114" fmla="*/ 48 w 312"/>
                <a:gd name="T115" fmla="*/ 60 h 222"/>
                <a:gd name="T116" fmla="*/ 54 w 312"/>
                <a:gd name="T117" fmla="*/ 36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12"/>
                <a:gd name="T178" fmla="*/ 0 h 222"/>
                <a:gd name="T179" fmla="*/ 312 w 312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12" h="222">
                  <a:moveTo>
                    <a:pt x="54" y="36"/>
                  </a:move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28" y="66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40" y="78"/>
                  </a:lnTo>
                  <a:lnTo>
                    <a:pt x="246" y="84"/>
                  </a:lnTo>
                  <a:lnTo>
                    <a:pt x="252" y="84"/>
                  </a:lnTo>
                  <a:lnTo>
                    <a:pt x="252" y="90"/>
                  </a:lnTo>
                  <a:lnTo>
                    <a:pt x="258" y="90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70" y="114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76" y="150"/>
                  </a:lnTo>
                  <a:lnTo>
                    <a:pt x="276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68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74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06" y="186"/>
                  </a:lnTo>
                  <a:lnTo>
                    <a:pt x="312" y="186"/>
                  </a:lnTo>
                  <a:lnTo>
                    <a:pt x="306" y="192"/>
                  </a:lnTo>
                  <a:lnTo>
                    <a:pt x="306" y="198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0"/>
                  </a:lnTo>
                  <a:lnTo>
                    <a:pt x="306" y="216"/>
                  </a:lnTo>
                  <a:lnTo>
                    <a:pt x="300" y="216"/>
                  </a:lnTo>
                  <a:lnTo>
                    <a:pt x="294" y="216"/>
                  </a:lnTo>
                  <a:lnTo>
                    <a:pt x="288" y="216"/>
                  </a:lnTo>
                  <a:lnTo>
                    <a:pt x="282" y="216"/>
                  </a:lnTo>
                  <a:lnTo>
                    <a:pt x="276" y="216"/>
                  </a:lnTo>
                  <a:lnTo>
                    <a:pt x="270" y="216"/>
                  </a:lnTo>
                  <a:lnTo>
                    <a:pt x="264" y="216"/>
                  </a:lnTo>
                  <a:lnTo>
                    <a:pt x="264" y="222"/>
                  </a:lnTo>
                  <a:lnTo>
                    <a:pt x="258" y="222"/>
                  </a:lnTo>
                  <a:lnTo>
                    <a:pt x="258" y="216"/>
                  </a:lnTo>
                  <a:lnTo>
                    <a:pt x="252" y="216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10"/>
                  </a:lnTo>
                  <a:lnTo>
                    <a:pt x="228" y="210"/>
                  </a:lnTo>
                  <a:lnTo>
                    <a:pt x="222" y="210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3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4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96" y="216"/>
                  </a:lnTo>
                  <a:lnTo>
                    <a:pt x="84" y="216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8" y="204"/>
                  </a:lnTo>
                  <a:lnTo>
                    <a:pt x="42" y="204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90" y="180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38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56"/>
                  </a:lnTo>
                  <a:lnTo>
                    <a:pt x="174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56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132" y="144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50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0" y="156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48" y="144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2" y="102"/>
                  </a:lnTo>
                  <a:lnTo>
                    <a:pt x="6" y="102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66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1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428" y="1830"/>
              <a:ext cx="306" cy="230"/>
            </a:xfrm>
            <a:custGeom>
              <a:avLst/>
              <a:gdLst>
                <a:gd name="T0" fmla="*/ 18 w 360"/>
                <a:gd name="T1" fmla="*/ 54 h 270"/>
                <a:gd name="T2" fmla="*/ 54 w 360"/>
                <a:gd name="T3" fmla="*/ 42 h 270"/>
                <a:gd name="T4" fmla="*/ 54 w 360"/>
                <a:gd name="T5" fmla="*/ 30 h 270"/>
                <a:gd name="T6" fmla="*/ 66 w 360"/>
                <a:gd name="T7" fmla="*/ 18 h 270"/>
                <a:gd name="T8" fmla="*/ 78 w 360"/>
                <a:gd name="T9" fmla="*/ 0 h 270"/>
                <a:gd name="T10" fmla="*/ 102 w 360"/>
                <a:gd name="T11" fmla="*/ 6 h 270"/>
                <a:gd name="T12" fmla="*/ 126 w 360"/>
                <a:gd name="T13" fmla="*/ 18 h 270"/>
                <a:gd name="T14" fmla="*/ 156 w 360"/>
                <a:gd name="T15" fmla="*/ 12 h 270"/>
                <a:gd name="T16" fmla="*/ 168 w 360"/>
                <a:gd name="T17" fmla="*/ 24 h 270"/>
                <a:gd name="T18" fmla="*/ 192 w 360"/>
                <a:gd name="T19" fmla="*/ 18 h 270"/>
                <a:gd name="T20" fmla="*/ 210 w 360"/>
                <a:gd name="T21" fmla="*/ 30 h 270"/>
                <a:gd name="T22" fmla="*/ 228 w 360"/>
                <a:gd name="T23" fmla="*/ 24 h 270"/>
                <a:gd name="T24" fmla="*/ 246 w 360"/>
                <a:gd name="T25" fmla="*/ 24 h 270"/>
                <a:gd name="T26" fmla="*/ 264 w 360"/>
                <a:gd name="T27" fmla="*/ 24 h 270"/>
                <a:gd name="T28" fmla="*/ 276 w 360"/>
                <a:gd name="T29" fmla="*/ 12 h 270"/>
                <a:gd name="T30" fmla="*/ 288 w 360"/>
                <a:gd name="T31" fmla="*/ 12 h 270"/>
                <a:gd name="T32" fmla="*/ 306 w 360"/>
                <a:gd name="T33" fmla="*/ 30 h 270"/>
                <a:gd name="T34" fmla="*/ 312 w 360"/>
                <a:gd name="T35" fmla="*/ 54 h 270"/>
                <a:gd name="T36" fmla="*/ 318 w 360"/>
                <a:gd name="T37" fmla="*/ 72 h 270"/>
                <a:gd name="T38" fmla="*/ 324 w 360"/>
                <a:gd name="T39" fmla="*/ 78 h 270"/>
                <a:gd name="T40" fmla="*/ 330 w 360"/>
                <a:gd name="T41" fmla="*/ 108 h 270"/>
                <a:gd name="T42" fmla="*/ 342 w 360"/>
                <a:gd name="T43" fmla="*/ 126 h 270"/>
                <a:gd name="T44" fmla="*/ 336 w 360"/>
                <a:gd name="T45" fmla="*/ 138 h 270"/>
                <a:gd name="T46" fmla="*/ 336 w 360"/>
                <a:gd name="T47" fmla="*/ 150 h 270"/>
                <a:gd name="T48" fmla="*/ 354 w 360"/>
                <a:gd name="T49" fmla="*/ 156 h 270"/>
                <a:gd name="T50" fmla="*/ 360 w 360"/>
                <a:gd name="T51" fmla="*/ 174 h 270"/>
                <a:gd name="T52" fmla="*/ 354 w 360"/>
                <a:gd name="T53" fmla="*/ 192 h 270"/>
                <a:gd name="T54" fmla="*/ 354 w 360"/>
                <a:gd name="T55" fmla="*/ 210 h 270"/>
                <a:gd name="T56" fmla="*/ 336 w 360"/>
                <a:gd name="T57" fmla="*/ 204 h 270"/>
                <a:gd name="T58" fmla="*/ 336 w 360"/>
                <a:gd name="T59" fmla="*/ 216 h 270"/>
                <a:gd name="T60" fmla="*/ 348 w 360"/>
                <a:gd name="T61" fmla="*/ 228 h 270"/>
                <a:gd name="T62" fmla="*/ 342 w 360"/>
                <a:gd name="T63" fmla="*/ 246 h 270"/>
                <a:gd name="T64" fmla="*/ 318 w 360"/>
                <a:gd name="T65" fmla="*/ 246 h 270"/>
                <a:gd name="T66" fmla="*/ 306 w 360"/>
                <a:gd name="T67" fmla="*/ 264 h 270"/>
                <a:gd name="T68" fmla="*/ 288 w 360"/>
                <a:gd name="T69" fmla="*/ 270 h 270"/>
                <a:gd name="T70" fmla="*/ 270 w 360"/>
                <a:gd name="T71" fmla="*/ 264 h 270"/>
                <a:gd name="T72" fmla="*/ 276 w 360"/>
                <a:gd name="T73" fmla="*/ 234 h 270"/>
                <a:gd name="T74" fmla="*/ 264 w 360"/>
                <a:gd name="T75" fmla="*/ 210 h 270"/>
                <a:gd name="T76" fmla="*/ 258 w 360"/>
                <a:gd name="T77" fmla="*/ 204 h 270"/>
                <a:gd name="T78" fmla="*/ 234 w 360"/>
                <a:gd name="T79" fmla="*/ 204 h 270"/>
                <a:gd name="T80" fmla="*/ 210 w 360"/>
                <a:gd name="T81" fmla="*/ 216 h 270"/>
                <a:gd name="T82" fmla="*/ 222 w 360"/>
                <a:gd name="T83" fmla="*/ 192 h 270"/>
                <a:gd name="T84" fmla="*/ 210 w 360"/>
                <a:gd name="T85" fmla="*/ 168 h 270"/>
                <a:gd name="T86" fmla="*/ 198 w 360"/>
                <a:gd name="T87" fmla="*/ 144 h 270"/>
                <a:gd name="T88" fmla="*/ 138 w 360"/>
                <a:gd name="T89" fmla="*/ 132 h 270"/>
                <a:gd name="T90" fmla="*/ 120 w 360"/>
                <a:gd name="T91" fmla="*/ 150 h 270"/>
                <a:gd name="T92" fmla="*/ 102 w 360"/>
                <a:gd name="T93" fmla="*/ 168 h 270"/>
                <a:gd name="T94" fmla="*/ 84 w 360"/>
                <a:gd name="T95" fmla="*/ 174 h 270"/>
                <a:gd name="T96" fmla="*/ 78 w 360"/>
                <a:gd name="T97" fmla="*/ 174 h 270"/>
                <a:gd name="T98" fmla="*/ 72 w 360"/>
                <a:gd name="T99" fmla="*/ 162 h 270"/>
                <a:gd name="T100" fmla="*/ 60 w 360"/>
                <a:gd name="T101" fmla="*/ 150 h 270"/>
                <a:gd name="T102" fmla="*/ 60 w 360"/>
                <a:gd name="T103" fmla="*/ 138 h 270"/>
                <a:gd name="T104" fmla="*/ 42 w 360"/>
                <a:gd name="T105" fmla="*/ 126 h 270"/>
                <a:gd name="T106" fmla="*/ 30 w 360"/>
                <a:gd name="T107" fmla="*/ 120 h 270"/>
                <a:gd name="T108" fmla="*/ 12 w 360"/>
                <a:gd name="T109" fmla="*/ 102 h 270"/>
                <a:gd name="T110" fmla="*/ 12 w 360"/>
                <a:gd name="T111" fmla="*/ 102 h 270"/>
                <a:gd name="T112" fmla="*/ 6 w 360"/>
                <a:gd name="T113" fmla="*/ 84 h 270"/>
                <a:gd name="T114" fmla="*/ 0 w 360"/>
                <a:gd name="T115" fmla="*/ 78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0"/>
                <a:gd name="T175" fmla="*/ 0 h 270"/>
                <a:gd name="T176" fmla="*/ 360 w 360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0" h="270">
                  <a:moveTo>
                    <a:pt x="0" y="78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204" y="24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94" y="24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306" y="30"/>
                  </a:lnTo>
                  <a:lnTo>
                    <a:pt x="306" y="36"/>
                  </a:lnTo>
                  <a:lnTo>
                    <a:pt x="306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54"/>
                  </a:lnTo>
                  <a:lnTo>
                    <a:pt x="312" y="60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18" y="66"/>
                  </a:lnTo>
                  <a:lnTo>
                    <a:pt x="318" y="72"/>
                  </a:lnTo>
                  <a:lnTo>
                    <a:pt x="312" y="72"/>
                  </a:lnTo>
                  <a:lnTo>
                    <a:pt x="312" y="78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0" y="102"/>
                  </a:lnTo>
                  <a:lnTo>
                    <a:pt x="330" y="108"/>
                  </a:lnTo>
                  <a:lnTo>
                    <a:pt x="336" y="108"/>
                  </a:lnTo>
                  <a:lnTo>
                    <a:pt x="336" y="114"/>
                  </a:lnTo>
                  <a:lnTo>
                    <a:pt x="342" y="114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2" y="162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48" y="162"/>
                  </a:lnTo>
                  <a:lnTo>
                    <a:pt x="348" y="168"/>
                  </a:lnTo>
                  <a:lnTo>
                    <a:pt x="348" y="174"/>
                  </a:lnTo>
                  <a:lnTo>
                    <a:pt x="354" y="174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8" y="186"/>
                  </a:lnTo>
                  <a:lnTo>
                    <a:pt x="348" y="192"/>
                  </a:lnTo>
                  <a:lnTo>
                    <a:pt x="354" y="192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36" y="210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34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36" y="246"/>
                  </a:lnTo>
                  <a:lnTo>
                    <a:pt x="336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2" y="246"/>
                  </a:lnTo>
                  <a:lnTo>
                    <a:pt x="306" y="252"/>
                  </a:lnTo>
                  <a:lnTo>
                    <a:pt x="312" y="252"/>
                  </a:lnTo>
                  <a:lnTo>
                    <a:pt x="306" y="258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2" y="264"/>
                  </a:lnTo>
                  <a:lnTo>
                    <a:pt x="282" y="258"/>
                  </a:lnTo>
                  <a:lnTo>
                    <a:pt x="276" y="258"/>
                  </a:lnTo>
                  <a:lnTo>
                    <a:pt x="270" y="258"/>
                  </a:lnTo>
                  <a:lnTo>
                    <a:pt x="270" y="264"/>
                  </a:lnTo>
                  <a:lnTo>
                    <a:pt x="270" y="258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6" y="240"/>
                  </a:lnTo>
                  <a:lnTo>
                    <a:pt x="276" y="234"/>
                  </a:lnTo>
                  <a:lnTo>
                    <a:pt x="276" y="228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70" y="216"/>
                  </a:lnTo>
                  <a:lnTo>
                    <a:pt x="270" y="210"/>
                  </a:lnTo>
                  <a:lnTo>
                    <a:pt x="264" y="210"/>
                  </a:lnTo>
                  <a:lnTo>
                    <a:pt x="264" y="204"/>
                  </a:lnTo>
                  <a:lnTo>
                    <a:pt x="258" y="204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46" y="204"/>
                  </a:lnTo>
                  <a:lnTo>
                    <a:pt x="246" y="210"/>
                  </a:lnTo>
                  <a:lnTo>
                    <a:pt x="240" y="210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10"/>
                  </a:lnTo>
                  <a:lnTo>
                    <a:pt x="222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38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50" y="132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84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15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494" y="1943"/>
              <a:ext cx="128" cy="127"/>
            </a:xfrm>
            <a:custGeom>
              <a:avLst/>
              <a:gdLst>
                <a:gd name="T0" fmla="*/ 12 w 150"/>
                <a:gd name="T1" fmla="*/ 42 h 150"/>
                <a:gd name="T2" fmla="*/ 18 w 150"/>
                <a:gd name="T3" fmla="*/ 42 h 150"/>
                <a:gd name="T4" fmla="*/ 30 w 150"/>
                <a:gd name="T5" fmla="*/ 36 h 150"/>
                <a:gd name="T6" fmla="*/ 36 w 150"/>
                <a:gd name="T7" fmla="*/ 24 h 150"/>
                <a:gd name="T8" fmla="*/ 42 w 150"/>
                <a:gd name="T9" fmla="*/ 12 h 150"/>
                <a:gd name="T10" fmla="*/ 54 w 150"/>
                <a:gd name="T11" fmla="*/ 6 h 150"/>
                <a:gd name="T12" fmla="*/ 60 w 150"/>
                <a:gd name="T13" fmla="*/ 6 h 150"/>
                <a:gd name="T14" fmla="*/ 108 w 150"/>
                <a:gd name="T15" fmla="*/ 6 h 150"/>
                <a:gd name="T16" fmla="*/ 120 w 150"/>
                <a:gd name="T17" fmla="*/ 18 h 150"/>
                <a:gd name="T18" fmla="*/ 126 w 150"/>
                <a:gd name="T19" fmla="*/ 30 h 150"/>
                <a:gd name="T20" fmla="*/ 132 w 150"/>
                <a:gd name="T21" fmla="*/ 42 h 150"/>
                <a:gd name="T22" fmla="*/ 138 w 150"/>
                <a:gd name="T23" fmla="*/ 54 h 150"/>
                <a:gd name="T24" fmla="*/ 144 w 150"/>
                <a:gd name="T25" fmla="*/ 66 h 150"/>
                <a:gd name="T26" fmla="*/ 132 w 150"/>
                <a:gd name="T27" fmla="*/ 72 h 150"/>
                <a:gd name="T28" fmla="*/ 132 w 150"/>
                <a:gd name="T29" fmla="*/ 78 h 150"/>
                <a:gd name="T30" fmla="*/ 144 w 150"/>
                <a:gd name="T31" fmla="*/ 78 h 150"/>
                <a:gd name="T32" fmla="*/ 150 w 150"/>
                <a:gd name="T33" fmla="*/ 84 h 150"/>
                <a:gd name="T34" fmla="*/ 138 w 150"/>
                <a:gd name="T35" fmla="*/ 96 h 150"/>
                <a:gd name="T36" fmla="*/ 132 w 150"/>
                <a:gd name="T37" fmla="*/ 114 h 150"/>
                <a:gd name="T38" fmla="*/ 120 w 150"/>
                <a:gd name="T39" fmla="*/ 120 h 150"/>
                <a:gd name="T40" fmla="*/ 108 w 150"/>
                <a:gd name="T41" fmla="*/ 132 h 150"/>
                <a:gd name="T42" fmla="*/ 102 w 150"/>
                <a:gd name="T43" fmla="*/ 144 h 150"/>
                <a:gd name="T44" fmla="*/ 84 w 150"/>
                <a:gd name="T45" fmla="*/ 144 h 150"/>
                <a:gd name="T46" fmla="*/ 54 w 150"/>
                <a:gd name="T47" fmla="*/ 132 h 150"/>
                <a:gd name="T48" fmla="*/ 48 w 150"/>
                <a:gd name="T49" fmla="*/ 126 h 150"/>
                <a:gd name="T50" fmla="*/ 42 w 150"/>
                <a:gd name="T51" fmla="*/ 126 h 150"/>
                <a:gd name="T52" fmla="*/ 48 w 150"/>
                <a:gd name="T53" fmla="*/ 120 h 150"/>
                <a:gd name="T54" fmla="*/ 48 w 150"/>
                <a:gd name="T55" fmla="*/ 114 h 150"/>
                <a:gd name="T56" fmla="*/ 42 w 150"/>
                <a:gd name="T57" fmla="*/ 114 h 150"/>
                <a:gd name="T58" fmla="*/ 30 w 150"/>
                <a:gd name="T59" fmla="*/ 114 h 150"/>
                <a:gd name="T60" fmla="*/ 24 w 150"/>
                <a:gd name="T61" fmla="*/ 102 h 150"/>
                <a:gd name="T62" fmla="*/ 30 w 150"/>
                <a:gd name="T63" fmla="*/ 102 h 150"/>
                <a:gd name="T64" fmla="*/ 24 w 150"/>
                <a:gd name="T65" fmla="*/ 90 h 150"/>
                <a:gd name="T66" fmla="*/ 12 w 150"/>
                <a:gd name="T67" fmla="*/ 84 h 150"/>
                <a:gd name="T68" fmla="*/ 6 w 150"/>
                <a:gd name="T69" fmla="*/ 84 h 150"/>
                <a:gd name="T70" fmla="*/ 12 w 150"/>
                <a:gd name="T71" fmla="*/ 72 h 150"/>
                <a:gd name="T72" fmla="*/ 12 w 150"/>
                <a:gd name="T73" fmla="*/ 78 h 150"/>
                <a:gd name="T74" fmla="*/ 24 w 150"/>
                <a:gd name="T75" fmla="*/ 72 h 150"/>
                <a:gd name="T76" fmla="*/ 12 w 150"/>
                <a:gd name="T77" fmla="*/ 72 h 150"/>
                <a:gd name="T78" fmla="*/ 6 w 150"/>
                <a:gd name="T79" fmla="*/ 72 h 150"/>
                <a:gd name="T80" fmla="*/ 6 w 150"/>
                <a:gd name="T81" fmla="*/ 66 h 150"/>
                <a:gd name="T82" fmla="*/ 12 w 150"/>
                <a:gd name="T83" fmla="*/ 54 h 150"/>
                <a:gd name="T84" fmla="*/ 6 w 150"/>
                <a:gd name="T85" fmla="*/ 54 h 1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0"/>
                <a:gd name="T130" fmla="*/ 0 h 150"/>
                <a:gd name="T131" fmla="*/ 150 w 150"/>
                <a:gd name="T132" fmla="*/ 150 h 15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0" h="150">
                  <a:moveTo>
                    <a:pt x="0" y="48"/>
                  </a:move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72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38" y="48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0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16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826" y="1728"/>
              <a:ext cx="336" cy="240"/>
            </a:xfrm>
            <a:custGeom>
              <a:avLst/>
              <a:gdLst>
                <a:gd name="T0" fmla="*/ 6 w 396"/>
                <a:gd name="T1" fmla="*/ 210 h 282"/>
                <a:gd name="T2" fmla="*/ 12 w 396"/>
                <a:gd name="T3" fmla="*/ 192 h 282"/>
                <a:gd name="T4" fmla="*/ 18 w 396"/>
                <a:gd name="T5" fmla="*/ 174 h 282"/>
                <a:gd name="T6" fmla="*/ 12 w 396"/>
                <a:gd name="T7" fmla="*/ 162 h 282"/>
                <a:gd name="T8" fmla="*/ 12 w 396"/>
                <a:gd name="T9" fmla="*/ 162 h 282"/>
                <a:gd name="T10" fmla="*/ 30 w 396"/>
                <a:gd name="T11" fmla="*/ 150 h 282"/>
                <a:gd name="T12" fmla="*/ 48 w 396"/>
                <a:gd name="T13" fmla="*/ 138 h 282"/>
                <a:gd name="T14" fmla="*/ 48 w 396"/>
                <a:gd name="T15" fmla="*/ 120 h 282"/>
                <a:gd name="T16" fmla="*/ 66 w 396"/>
                <a:gd name="T17" fmla="*/ 108 h 282"/>
                <a:gd name="T18" fmla="*/ 66 w 396"/>
                <a:gd name="T19" fmla="*/ 90 h 282"/>
                <a:gd name="T20" fmla="*/ 72 w 396"/>
                <a:gd name="T21" fmla="*/ 78 h 282"/>
                <a:gd name="T22" fmla="*/ 96 w 396"/>
                <a:gd name="T23" fmla="*/ 90 h 282"/>
                <a:gd name="T24" fmla="*/ 114 w 396"/>
                <a:gd name="T25" fmla="*/ 78 h 282"/>
                <a:gd name="T26" fmla="*/ 114 w 396"/>
                <a:gd name="T27" fmla="*/ 66 h 282"/>
                <a:gd name="T28" fmla="*/ 132 w 396"/>
                <a:gd name="T29" fmla="*/ 66 h 282"/>
                <a:gd name="T30" fmla="*/ 150 w 396"/>
                <a:gd name="T31" fmla="*/ 36 h 282"/>
                <a:gd name="T32" fmla="*/ 180 w 396"/>
                <a:gd name="T33" fmla="*/ 30 h 282"/>
                <a:gd name="T34" fmla="*/ 228 w 396"/>
                <a:gd name="T35" fmla="*/ 6 h 282"/>
                <a:gd name="T36" fmla="*/ 276 w 396"/>
                <a:gd name="T37" fmla="*/ 6 h 282"/>
                <a:gd name="T38" fmla="*/ 282 w 396"/>
                <a:gd name="T39" fmla="*/ 12 h 282"/>
                <a:gd name="T40" fmla="*/ 294 w 396"/>
                <a:gd name="T41" fmla="*/ 36 h 282"/>
                <a:gd name="T42" fmla="*/ 300 w 396"/>
                <a:gd name="T43" fmla="*/ 60 h 282"/>
                <a:gd name="T44" fmla="*/ 318 w 396"/>
                <a:gd name="T45" fmla="*/ 72 h 282"/>
                <a:gd name="T46" fmla="*/ 336 w 396"/>
                <a:gd name="T47" fmla="*/ 84 h 282"/>
                <a:gd name="T48" fmla="*/ 354 w 396"/>
                <a:gd name="T49" fmla="*/ 120 h 282"/>
                <a:gd name="T50" fmla="*/ 384 w 396"/>
                <a:gd name="T51" fmla="*/ 120 h 282"/>
                <a:gd name="T52" fmla="*/ 396 w 396"/>
                <a:gd name="T53" fmla="*/ 156 h 282"/>
                <a:gd name="T54" fmla="*/ 390 w 396"/>
                <a:gd name="T55" fmla="*/ 168 h 282"/>
                <a:gd name="T56" fmla="*/ 360 w 396"/>
                <a:gd name="T57" fmla="*/ 180 h 282"/>
                <a:gd name="T58" fmla="*/ 336 w 396"/>
                <a:gd name="T59" fmla="*/ 186 h 282"/>
                <a:gd name="T60" fmla="*/ 324 w 396"/>
                <a:gd name="T61" fmla="*/ 192 h 282"/>
                <a:gd name="T62" fmla="*/ 306 w 396"/>
                <a:gd name="T63" fmla="*/ 204 h 282"/>
                <a:gd name="T64" fmla="*/ 258 w 396"/>
                <a:gd name="T65" fmla="*/ 198 h 282"/>
                <a:gd name="T66" fmla="*/ 246 w 396"/>
                <a:gd name="T67" fmla="*/ 198 h 282"/>
                <a:gd name="T68" fmla="*/ 234 w 396"/>
                <a:gd name="T69" fmla="*/ 204 h 282"/>
                <a:gd name="T70" fmla="*/ 216 w 396"/>
                <a:gd name="T71" fmla="*/ 204 h 282"/>
                <a:gd name="T72" fmla="*/ 192 w 396"/>
                <a:gd name="T73" fmla="*/ 204 h 282"/>
                <a:gd name="T74" fmla="*/ 150 w 396"/>
                <a:gd name="T75" fmla="*/ 204 h 282"/>
                <a:gd name="T76" fmla="*/ 132 w 396"/>
                <a:gd name="T77" fmla="*/ 204 h 282"/>
                <a:gd name="T78" fmla="*/ 126 w 396"/>
                <a:gd name="T79" fmla="*/ 222 h 282"/>
                <a:gd name="T80" fmla="*/ 132 w 396"/>
                <a:gd name="T81" fmla="*/ 228 h 282"/>
                <a:gd name="T82" fmla="*/ 132 w 396"/>
                <a:gd name="T83" fmla="*/ 246 h 282"/>
                <a:gd name="T84" fmla="*/ 138 w 396"/>
                <a:gd name="T85" fmla="*/ 264 h 282"/>
                <a:gd name="T86" fmla="*/ 138 w 396"/>
                <a:gd name="T87" fmla="*/ 282 h 282"/>
                <a:gd name="T88" fmla="*/ 120 w 396"/>
                <a:gd name="T89" fmla="*/ 264 h 282"/>
                <a:gd name="T90" fmla="*/ 108 w 396"/>
                <a:gd name="T91" fmla="*/ 258 h 282"/>
                <a:gd name="T92" fmla="*/ 84 w 396"/>
                <a:gd name="T93" fmla="*/ 252 h 282"/>
                <a:gd name="T94" fmla="*/ 66 w 396"/>
                <a:gd name="T95" fmla="*/ 264 h 282"/>
                <a:gd name="T96" fmla="*/ 48 w 396"/>
                <a:gd name="T97" fmla="*/ 264 h 282"/>
                <a:gd name="T98" fmla="*/ 24 w 396"/>
                <a:gd name="T99" fmla="*/ 258 h 282"/>
                <a:gd name="T100" fmla="*/ 24 w 396"/>
                <a:gd name="T101" fmla="*/ 246 h 282"/>
                <a:gd name="T102" fmla="*/ 18 w 396"/>
                <a:gd name="T103" fmla="*/ 234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96"/>
                <a:gd name="T157" fmla="*/ 0 h 282"/>
                <a:gd name="T158" fmla="*/ 396 w 39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96" h="282">
                  <a:moveTo>
                    <a:pt x="0" y="228"/>
                  </a:moveTo>
                  <a:lnTo>
                    <a:pt x="0" y="222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72"/>
                  </a:lnTo>
                  <a:lnTo>
                    <a:pt x="126" y="66"/>
                  </a:lnTo>
                  <a:lnTo>
                    <a:pt x="126" y="72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32" y="54"/>
                  </a:lnTo>
                  <a:lnTo>
                    <a:pt x="132" y="48"/>
                  </a:lnTo>
                  <a:lnTo>
                    <a:pt x="144" y="48"/>
                  </a:lnTo>
                  <a:lnTo>
                    <a:pt x="150" y="36"/>
                  </a:lnTo>
                  <a:lnTo>
                    <a:pt x="162" y="42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40" y="0"/>
                  </a:lnTo>
                  <a:lnTo>
                    <a:pt x="252" y="0"/>
                  </a:lnTo>
                  <a:lnTo>
                    <a:pt x="264" y="0"/>
                  </a:lnTo>
                  <a:lnTo>
                    <a:pt x="276" y="0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288" y="0"/>
                  </a:lnTo>
                  <a:lnTo>
                    <a:pt x="288" y="6"/>
                  </a:lnTo>
                  <a:lnTo>
                    <a:pt x="282" y="12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294" y="48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6" y="60"/>
                  </a:lnTo>
                  <a:lnTo>
                    <a:pt x="306" y="66"/>
                  </a:lnTo>
                  <a:lnTo>
                    <a:pt x="312" y="66"/>
                  </a:lnTo>
                  <a:lnTo>
                    <a:pt x="312" y="72"/>
                  </a:lnTo>
                  <a:lnTo>
                    <a:pt x="318" y="72"/>
                  </a:lnTo>
                  <a:lnTo>
                    <a:pt x="324" y="72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84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54" y="120"/>
                  </a:lnTo>
                  <a:lnTo>
                    <a:pt x="366" y="120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78" y="132"/>
                  </a:lnTo>
                  <a:lnTo>
                    <a:pt x="378" y="138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2" y="180"/>
                  </a:lnTo>
                  <a:lnTo>
                    <a:pt x="366" y="180"/>
                  </a:lnTo>
                  <a:lnTo>
                    <a:pt x="360" y="180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2" y="180"/>
                  </a:lnTo>
                  <a:lnTo>
                    <a:pt x="342" y="186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192"/>
                  </a:lnTo>
                  <a:lnTo>
                    <a:pt x="330" y="198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06" y="204"/>
                  </a:lnTo>
                  <a:lnTo>
                    <a:pt x="300" y="204"/>
                  </a:lnTo>
                  <a:lnTo>
                    <a:pt x="300" y="198"/>
                  </a:lnTo>
                  <a:lnTo>
                    <a:pt x="264" y="192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52" y="192"/>
                  </a:lnTo>
                  <a:lnTo>
                    <a:pt x="252" y="198"/>
                  </a:lnTo>
                  <a:lnTo>
                    <a:pt x="246" y="198"/>
                  </a:lnTo>
                  <a:lnTo>
                    <a:pt x="246" y="204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22" y="198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8" y="198"/>
                  </a:lnTo>
                  <a:lnTo>
                    <a:pt x="132" y="198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6" y="216"/>
                  </a:lnTo>
                  <a:lnTo>
                    <a:pt x="132" y="216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8" y="240"/>
                  </a:lnTo>
                  <a:lnTo>
                    <a:pt x="132" y="240"/>
                  </a:lnTo>
                  <a:lnTo>
                    <a:pt x="138" y="246"/>
                  </a:lnTo>
                  <a:lnTo>
                    <a:pt x="132" y="246"/>
                  </a:lnTo>
                  <a:lnTo>
                    <a:pt x="138" y="246"/>
                  </a:lnTo>
                  <a:lnTo>
                    <a:pt x="138" y="252"/>
                  </a:lnTo>
                  <a:lnTo>
                    <a:pt x="138" y="258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70"/>
                  </a:lnTo>
                  <a:lnTo>
                    <a:pt x="138" y="276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14" y="252"/>
                  </a:lnTo>
                  <a:lnTo>
                    <a:pt x="114" y="258"/>
                  </a:lnTo>
                  <a:lnTo>
                    <a:pt x="108" y="258"/>
                  </a:lnTo>
                  <a:lnTo>
                    <a:pt x="108" y="252"/>
                  </a:lnTo>
                  <a:lnTo>
                    <a:pt x="102" y="252"/>
                  </a:lnTo>
                  <a:lnTo>
                    <a:pt x="96" y="252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54" y="270"/>
                  </a:lnTo>
                  <a:lnTo>
                    <a:pt x="48" y="270"/>
                  </a:lnTo>
                  <a:lnTo>
                    <a:pt x="48" y="264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58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0" y="234"/>
                  </a:lnTo>
                  <a:lnTo>
                    <a:pt x="0" y="22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17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922" y="1892"/>
              <a:ext cx="184" cy="270"/>
            </a:xfrm>
            <a:custGeom>
              <a:avLst/>
              <a:gdLst>
                <a:gd name="T0" fmla="*/ 18 w 216"/>
                <a:gd name="T1" fmla="*/ 72 h 318"/>
                <a:gd name="T2" fmla="*/ 24 w 216"/>
                <a:gd name="T3" fmla="*/ 60 h 318"/>
                <a:gd name="T4" fmla="*/ 18 w 216"/>
                <a:gd name="T5" fmla="*/ 48 h 318"/>
                <a:gd name="T6" fmla="*/ 18 w 216"/>
                <a:gd name="T7" fmla="*/ 42 h 318"/>
                <a:gd name="T8" fmla="*/ 12 w 216"/>
                <a:gd name="T9" fmla="*/ 30 h 318"/>
                <a:gd name="T10" fmla="*/ 18 w 216"/>
                <a:gd name="T11" fmla="*/ 18 h 318"/>
                <a:gd name="T12" fmla="*/ 24 w 216"/>
                <a:gd name="T13" fmla="*/ 12 h 318"/>
                <a:gd name="T14" fmla="*/ 48 w 216"/>
                <a:gd name="T15" fmla="*/ 12 h 318"/>
                <a:gd name="T16" fmla="*/ 78 w 216"/>
                <a:gd name="T17" fmla="*/ 6 h 318"/>
                <a:gd name="T18" fmla="*/ 102 w 216"/>
                <a:gd name="T19" fmla="*/ 12 h 318"/>
                <a:gd name="T20" fmla="*/ 114 w 216"/>
                <a:gd name="T21" fmla="*/ 12 h 318"/>
                <a:gd name="T22" fmla="*/ 126 w 216"/>
                <a:gd name="T23" fmla="*/ 12 h 318"/>
                <a:gd name="T24" fmla="*/ 138 w 216"/>
                <a:gd name="T25" fmla="*/ 0 h 318"/>
                <a:gd name="T26" fmla="*/ 144 w 216"/>
                <a:gd name="T27" fmla="*/ 0 h 318"/>
                <a:gd name="T28" fmla="*/ 162 w 216"/>
                <a:gd name="T29" fmla="*/ 6 h 318"/>
                <a:gd name="T30" fmla="*/ 156 w 216"/>
                <a:gd name="T31" fmla="*/ 30 h 318"/>
                <a:gd name="T32" fmla="*/ 174 w 216"/>
                <a:gd name="T33" fmla="*/ 36 h 318"/>
                <a:gd name="T34" fmla="*/ 180 w 216"/>
                <a:gd name="T35" fmla="*/ 54 h 318"/>
                <a:gd name="T36" fmla="*/ 180 w 216"/>
                <a:gd name="T37" fmla="*/ 66 h 318"/>
                <a:gd name="T38" fmla="*/ 174 w 216"/>
                <a:gd name="T39" fmla="*/ 78 h 318"/>
                <a:gd name="T40" fmla="*/ 174 w 216"/>
                <a:gd name="T41" fmla="*/ 90 h 318"/>
                <a:gd name="T42" fmla="*/ 186 w 216"/>
                <a:gd name="T43" fmla="*/ 90 h 318"/>
                <a:gd name="T44" fmla="*/ 180 w 216"/>
                <a:gd name="T45" fmla="*/ 108 h 318"/>
                <a:gd name="T46" fmla="*/ 180 w 216"/>
                <a:gd name="T47" fmla="*/ 126 h 318"/>
                <a:gd name="T48" fmla="*/ 192 w 216"/>
                <a:gd name="T49" fmla="*/ 138 h 318"/>
                <a:gd name="T50" fmla="*/ 192 w 216"/>
                <a:gd name="T51" fmla="*/ 150 h 318"/>
                <a:gd name="T52" fmla="*/ 192 w 216"/>
                <a:gd name="T53" fmla="*/ 174 h 318"/>
                <a:gd name="T54" fmla="*/ 192 w 216"/>
                <a:gd name="T55" fmla="*/ 186 h 318"/>
                <a:gd name="T56" fmla="*/ 186 w 216"/>
                <a:gd name="T57" fmla="*/ 210 h 318"/>
                <a:gd name="T58" fmla="*/ 192 w 216"/>
                <a:gd name="T59" fmla="*/ 228 h 318"/>
                <a:gd name="T60" fmla="*/ 204 w 216"/>
                <a:gd name="T61" fmla="*/ 240 h 318"/>
                <a:gd name="T62" fmla="*/ 216 w 216"/>
                <a:gd name="T63" fmla="*/ 252 h 318"/>
                <a:gd name="T64" fmla="*/ 204 w 216"/>
                <a:gd name="T65" fmla="*/ 270 h 318"/>
                <a:gd name="T66" fmla="*/ 168 w 216"/>
                <a:gd name="T67" fmla="*/ 270 h 318"/>
                <a:gd name="T68" fmla="*/ 156 w 216"/>
                <a:gd name="T69" fmla="*/ 282 h 318"/>
                <a:gd name="T70" fmla="*/ 138 w 216"/>
                <a:gd name="T71" fmla="*/ 288 h 318"/>
                <a:gd name="T72" fmla="*/ 120 w 216"/>
                <a:gd name="T73" fmla="*/ 294 h 318"/>
                <a:gd name="T74" fmla="*/ 108 w 216"/>
                <a:gd name="T75" fmla="*/ 294 h 318"/>
                <a:gd name="T76" fmla="*/ 90 w 216"/>
                <a:gd name="T77" fmla="*/ 306 h 318"/>
                <a:gd name="T78" fmla="*/ 72 w 216"/>
                <a:gd name="T79" fmla="*/ 312 h 318"/>
                <a:gd name="T80" fmla="*/ 54 w 216"/>
                <a:gd name="T81" fmla="*/ 318 h 318"/>
                <a:gd name="T82" fmla="*/ 36 w 216"/>
                <a:gd name="T83" fmla="*/ 306 h 318"/>
                <a:gd name="T84" fmla="*/ 6 w 216"/>
                <a:gd name="T85" fmla="*/ 300 h 318"/>
                <a:gd name="T86" fmla="*/ 18 w 216"/>
                <a:gd name="T87" fmla="*/ 300 h 318"/>
                <a:gd name="T88" fmla="*/ 24 w 216"/>
                <a:gd name="T89" fmla="*/ 282 h 318"/>
                <a:gd name="T90" fmla="*/ 12 w 216"/>
                <a:gd name="T91" fmla="*/ 270 h 318"/>
                <a:gd name="T92" fmla="*/ 6 w 216"/>
                <a:gd name="T93" fmla="*/ 246 h 318"/>
                <a:gd name="T94" fmla="*/ 0 w 216"/>
                <a:gd name="T95" fmla="*/ 222 h 318"/>
                <a:gd name="T96" fmla="*/ 12 w 216"/>
                <a:gd name="T97" fmla="*/ 204 h 318"/>
                <a:gd name="T98" fmla="*/ 12 w 216"/>
                <a:gd name="T99" fmla="*/ 180 h 318"/>
                <a:gd name="T100" fmla="*/ 24 w 216"/>
                <a:gd name="T101" fmla="*/ 156 h 318"/>
                <a:gd name="T102" fmla="*/ 36 w 216"/>
                <a:gd name="T103" fmla="*/ 144 h 318"/>
                <a:gd name="T104" fmla="*/ 30 w 216"/>
                <a:gd name="T105" fmla="*/ 114 h 318"/>
                <a:gd name="T106" fmla="*/ 24 w 216"/>
                <a:gd name="T107" fmla="*/ 96 h 318"/>
                <a:gd name="T108" fmla="*/ 24 w 216"/>
                <a:gd name="T109" fmla="*/ 84 h 3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6"/>
                <a:gd name="T166" fmla="*/ 0 h 318"/>
                <a:gd name="T167" fmla="*/ 216 w 216"/>
                <a:gd name="T168" fmla="*/ 318 h 3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6" h="318">
                  <a:moveTo>
                    <a:pt x="24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42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74" y="78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14"/>
                  </a:lnTo>
                  <a:lnTo>
                    <a:pt x="186" y="120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0" y="246"/>
                  </a:lnTo>
                  <a:lnTo>
                    <a:pt x="216" y="246"/>
                  </a:lnTo>
                  <a:lnTo>
                    <a:pt x="216" y="252"/>
                  </a:lnTo>
                  <a:lnTo>
                    <a:pt x="216" y="258"/>
                  </a:lnTo>
                  <a:lnTo>
                    <a:pt x="210" y="264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8" y="288"/>
                  </a:lnTo>
                  <a:lnTo>
                    <a:pt x="132" y="288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20" y="294"/>
                  </a:lnTo>
                  <a:lnTo>
                    <a:pt x="114" y="294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8" y="300"/>
                  </a:lnTo>
                  <a:lnTo>
                    <a:pt x="102" y="300"/>
                  </a:lnTo>
                  <a:lnTo>
                    <a:pt x="96" y="300"/>
                  </a:lnTo>
                  <a:lnTo>
                    <a:pt x="90" y="306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8" y="312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36" y="306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12" y="306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0" y="222"/>
                  </a:lnTo>
                  <a:lnTo>
                    <a:pt x="0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18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93" y="1912"/>
              <a:ext cx="260" cy="265"/>
            </a:xfrm>
            <a:custGeom>
              <a:avLst/>
              <a:gdLst>
                <a:gd name="T0" fmla="*/ 30 w 306"/>
                <a:gd name="T1" fmla="*/ 150 h 312"/>
                <a:gd name="T2" fmla="*/ 30 w 306"/>
                <a:gd name="T3" fmla="*/ 132 h 312"/>
                <a:gd name="T4" fmla="*/ 24 w 306"/>
                <a:gd name="T5" fmla="*/ 120 h 312"/>
                <a:gd name="T6" fmla="*/ 18 w 306"/>
                <a:gd name="T7" fmla="*/ 114 h 312"/>
                <a:gd name="T8" fmla="*/ 36 w 306"/>
                <a:gd name="T9" fmla="*/ 108 h 312"/>
                <a:gd name="T10" fmla="*/ 42 w 306"/>
                <a:gd name="T11" fmla="*/ 108 h 312"/>
                <a:gd name="T12" fmla="*/ 42 w 306"/>
                <a:gd name="T13" fmla="*/ 96 h 312"/>
                <a:gd name="T14" fmla="*/ 42 w 306"/>
                <a:gd name="T15" fmla="*/ 78 h 312"/>
                <a:gd name="T16" fmla="*/ 36 w 306"/>
                <a:gd name="T17" fmla="*/ 66 h 312"/>
                <a:gd name="T18" fmla="*/ 30 w 306"/>
                <a:gd name="T19" fmla="*/ 66 h 312"/>
                <a:gd name="T20" fmla="*/ 24 w 306"/>
                <a:gd name="T21" fmla="*/ 42 h 312"/>
                <a:gd name="T22" fmla="*/ 30 w 306"/>
                <a:gd name="T23" fmla="*/ 42 h 312"/>
                <a:gd name="T24" fmla="*/ 30 w 306"/>
                <a:gd name="T25" fmla="*/ 30 h 312"/>
                <a:gd name="T26" fmla="*/ 48 w 306"/>
                <a:gd name="T27" fmla="*/ 12 h 312"/>
                <a:gd name="T28" fmla="*/ 66 w 306"/>
                <a:gd name="T29" fmla="*/ 24 h 312"/>
                <a:gd name="T30" fmla="*/ 84 w 306"/>
                <a:gd name="T31" fmla="*/ 24 h 312"/>
                <a:gd name="T32" fmla="*/ 96 w 306"/>
                <a:gd name="T33" fmla="*/ 12 h 312"/>
                <a:gd name="T34" fmla="*/ 108 w 306"/>
                <a:gd name="T35" fmla="*/ 6 h 312"/>
                <a:gd name="T36" fmla="*/ 120 w 306"/>
                <a:gd name="T37" fmla="*/ 0 h 312"/>
                <a:gd name="T38" fmla="*/ 126 w 306"/>
                <a:gd name="T39" fmla="*/ 12 h 312"/>
                <a:gd name="T40" fmla="*/ 126 w 306"/>
                <a:gd name="T41" fmla="*/ 18 h 312"/>
                <a:gd name="T42" fmla="*/ 132 w 306"/>
                <a:gd name="T43" fmla="*/ 18 h 312"/>
                <a:gd name="T44" fmla="*/ 156 w 306"/>
                <a:gd name="T45" fmla="*/ 12 h 312"/>
                <a:gd name="T46" fmla="*/ 174 w 306"/>
                <a:gd name="T47" fmla="*/ 24 h 312"/>
                <a:gd name="T48" fmla="*/ 180 w 306"/>
                <a:gd name="T49" fmla="*/ 36 h 312"/>
                <a:gd name="T50" fmla="*/ 186 w 306"/>
                <a:gd name="T51" fmla="*/ 42 h 312"/>
                <a:gd name="T52" fmla="*/ 204 w 306"/>
                <a:gd name="T53" fmla="*/ 54 h 312"/>
                <a:gd name="T54" fmla="*/ 222 w 306"/>
                <a:gd name="T55" fmla="*/ 42 h 312"/>
                <a:gd name="T56" fmla="*/ 246 w 306"/>
                <a:gd name="T57" fmla="*/ 36 h 312"/>
                <a:gd name="T58" fmla="*/ 270 w 306"/>
                <a:gd name="T59" fmla="*/ 42 h 312"/>
                <a:gd name="T60" fmla="*/ 282 w 306"/>
                <a:gd name="T61" fmla="*/ 48 h 312"/>
                <a:gd name="T62" fmla="*/ 294 w 306"/>
                <a:gd name="T63" fmla="*/ 60 h 312"/>
                <a:gd name="T64" fmla="*/ 294 w 306"/>
                <a:gd name="T65" fmla="*/ 78 h 312"/>
                <a:gd name="T66" fmla="*/ 306 w 306"/>
                <a:gd name="T67" fmla="*/ 108 h 312"/>
                <a:gd name="T68" fmla="*/ 300 w 306"/>
                <a:gd name="T69" fmla="*/ 132 h 312"/>
                <a:gd name="T70" fmla="*/ 282 w 306"/>
                <a:gd name="T71" fmla="*/ 156 h 312"/>
                <a:gd name="T72" fmla="*/ 276 w 306"/>
                <a:gd name="T73" fmla="*/ 180 h 312"/>
                <a:gd name="T74" fmla="*/ 270 w 306"/>
                <a:gd name="T75" fmla="*/ 216 h 312"/>
                <a:gd name="T76" fmla="*/ 282 w 306"/>
                <a:gd name="T77" fmla="*/ 240 h 312"/>
                <a:gd name="T78" fmla="*/ 294 w 306"/>
                <a:gd name="T79" fmla="*/ 258 h 312"/>
                <a:gd name="T80" fmla="*/ 282 w 306"/>
                <a:gd name="T81" fmla="*/ 276 h 312"/>
                <a:gd name="T82" fmla="*/ 264 w 306"/>
                <a:gd name="T83" fmla="*/ 276 h 312"/>
                <a:gd name="T84" fmla="*/ 216 w 306"/>
                <a:gd name="T85" fmla="*/ 270 h 312"/>
                <a:gd name="T86" fmla="*/ 156 w 306"/>
                <a:gd name="T87" fmla="*/ 276 h 312"/>
                <a:gd name="T88" fmla="*/ 126 w 306"/>
                <a:gd name="T89" fmla="*/ 282 h 312"/>
                <a:gd name="T90" fmla="*/ 114 w 306"/>
                <a:gd name="T91" fmla="*/ 288 h 312"/>
                <a:gd name="T92" fmla="*/ 84 w 306"/>
                <a:gd name="T93" fmla="*/ 300 h 312"/>
                <a:gd name="T94" fmla="*/ 66 w 306"/>
                <a:gd name="T95" fmla="*/ 312 h 312"/>
                <a:gd name="T96" fmla="*/ 54 w 306"/>
                <a:gd name="T97" fmla="*/ 294 h 312"/>
                <a:gd name="T98" fmla="*/ 60 w 306"/>
                <a:gd name="T99" fmla="*/ 270 h 312"/>
                <a:gd name="T100" fmla="*/ 66 w 306"/>
                <a:gd name="T101" fmla="*/ 258 h 312"/>
                <a:gd name="T102" fmla="*/ 60 w 306"/>
                <a:gd name="T103" fmla="*/ 246 h 312"/>
                <a:gd name="T104" fmla="*/ 48 w 306"/>
                <a:gd name="T105" fmla="*/ 240 h 312"/>
                <a:gd name="T106" fmla="*/ 36 w 306"/>
                <a:gd name="T107" fmla="*/ 222 h 312"/>
                <a:gd name="T108" fmla="*/ 36 w 306"/>
                <a:gd name="T109" fmla="*/ 216 h 312"/>
                <a:gd name="T110" fmla="*/ 12 w 306"/>
                <a:gd name="T111" fmla="*/ 216 h 312"/>
                <a:gd name="T112" fmla="*/ 6 w 306"/>
                <a:gd name="T113" fmla="*/ 204 h 312"/>
                <a:gd name="T114" fmla="*/ 18 w 306"/>
                <a:gd name="T115" fmla="*/ 186 h 312"/>
                <a:gd name="T116" fmla="*/ 12 w 306"/>
                <a:gd name="T117" fmla="*/ 162 h 3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06"/>
                <a:gd name="T178" fmla="*/ 0 h 312"/>
                <a:gd name="T179" fmla="*/ 306 w 306"/>
                <a:gd name="T180" fmla="*/ 312 h 3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06" h="312">
                  <a:moveTo>
                    <a:pt x="12" y="156"/>
                  </a:moveTo>
                  <a:lnTo>
                    <a:pt x="18" y="156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6" y="42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94" y="72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78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0" y="96"/>
                  </a:lnTo>
                  <a:lnTo>
                    <a:pt x="306" y="108"/>
                  </a:lnTo>
                  <a:lnTo>
                    <a:pt x="306" y="114"/>
                  </a:lnTo>
                  <a:lnTo>
                    <a:pt x="306" y="120"/>
                  </a:lnTo>
                  <a:lnTo>
                    <a:pt x="306" y="126"/>
                  </a:lnTo>
                  <a:lnTo>
                    <a:pt x="300" y="126"/>
                  </a:lnTo>
                  <a:lnTo>
                    <a:pt x="300" y="132"/>
                  </a:lnTo>
                  <a:lnTo>
                    <a:pt x="294" y="132"/>
                  </a:lnTo>
                  <a:lnTo>
                    <a:pt x="294" y="138"/>
                  </a:lnTo>
                  <a:lnTo>
                    <a:pt x="288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2" y="174"/>
                  </a:lnTo>
                  <a:lnTo>
                    <a:pt x="282" y="180"/>
                  </a:lnTo>
                  <a:lnTo>
                    <a:pt x="276" y="180"/>
                  </a:lnTo>
                  <a:lnTo>
                    <a:pt x="276" y="186"/>
                  </a:lnTo>
                  <a:lnTo>
                    <a:pt x="270" y="192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76" y="228"/>
                  </a:lnTo>
                  <a:lnTo>
                    <a:pt x="276" y="234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294" y="258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94" y="276"/>
                  </a:lnTo>
                  <a:lnTo>
                    <a:pt x="288" y="276"/>
                  </a:lnTo>
                  <a:lnTo>
                    <a:pt x="282" y="276"/>
                  </a:lnTo>
                  <a:lnTo>
                    <a:pt x="282" y="282"/>
                  </a:lnTo>
                  <a:lnTo>
                    <a:pt x="282" y="276"/>
                  </a:lnTo>
                  <a:lnTo>
                    <a:pt x="276" y="276"/>
                  </a:lnTo>
                  <a:lnTo>
                    <a:pt x="270" y="276"/>
                  </a:lnTo>
                  <a:lnTo>
                    <a:pt x="264" y="276"/>
                  </a:lnTo>
                  <a:lnTo>
                    <a:pt x="240" y="276"/>
                  </a:lnTo>
                  <a:lnTo>
                    <a:pt x="234" y="270"/>
                  </a:lnTo>
                  <a:lnTo>
                    <a:pt x="228" y="270"/>
                  </a:lnTo>
                  <a:lnTo>
                    <a:pt x="222" y="270"/>
                  </a:lnTo>
                  <a:lnTo>
                    <a:pt x="216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0" y="276"/>
                  </a:lnTo>
                  <a:lnTo>
                    <a:pt x="168" y="276"/>
                  </a:lnTo>
                  <a:lnTo>
                    <a:pt x="156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14" y="288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54" y="282"/>
                  </a:lnTo>
                  <a:lnTo>
                    <a:pt x="54" y="276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0" y="216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19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576" y="2004"/>
              <a:ext cx="173" cy="178"/>
            </a:xfrm>
            <a:custGeom>
              <a:avLst/>
              <a:gdLst>
                <a:gd name="T0" fmla="*/ 6 w 204"/>
                <a:gd name="T1" fmla="*/ 66 h 210"/>
                <a:gd name="T2" fmla="*/ 18 w 204"/>
                <a:gd name="T3" fmla="*/ 54 h 210"/>
                <a:gd name="T4" fmla="*/ 30 w 204"/>
                <a:gd name="T5" fmla="*/ 48 h 210"/>
                <a:gd name="T6" fmla="*/ 36 w 204"/>
                <a:gd name="T7" fmla="*/ 36 h 210"/>
                <a:gd name="T8" fmla="*/ 48 w 204"/>
                <a:gd name="T9" fmla="*/ 18 h 210"/>
                <a:gd name="T10" fmla="*/ 54 w 204"/>
                <a:gd name="T11" fmla="*/ 6 h 210"/>
                <a:gd name="T12" fmla="*/ 66 w 204"/>
                <a:gd name="T13" fmla="*/ 0 h 210"/>
                <a:gd name="T14" fmla="*/ 72 w 204"/>
                <a:gd name="T15" fmla="*/ 0 h 210"/>
                <a:gd name="T16" fmla="*/ 78 w 204"/>
                <a:gd name="T17" fmla="*/ 0 h 210"/>
                <a:gd name="T18" fmla="*/ 84 w 204"/>
                <a:gd name="T19" fmla="*/ 0 h 210"/>
                <a:gd name="T20" fmla="*/ 96 w 204"/>
                <a:gd name="T21" fmla="*/ 6 h 210"/>
                <a:gd name="T22" fmla="*/ 96 w 204"/>
                <a:gd name="T23" fmla="*/ 24 h 210"/>
                <a:gd name="T24" fmla="*/ 102 w 204"/>
                <a:gd name="T25" fmla="*/ 36 h 210"/>
                <a:gd name="T26" fmla="*/ 102 w 204"/>
                <a:gd name="T27" fmla="*/ 54 h 210"/>
                <a:gd name="T28" fmla="*/ 96 w 204"/>
                <a:gd name="T29" fmla="*/ 54 h 210"/>
                <a:gd name="T30" fmla="*/ 108 w 204"/>
                <a:gd name="T31" fmla="*/ 60 h 210"/>
                <a:gd name="T32" fmla="*/ 120 w 204"/>
                <a:gd name="T33" fmla="*/ 66 h 210"/>
                <a:gd name="T34" fmla="*/ 132 w 204"/>
                <a:gd name="T35" fmla="*/ 60 h 210"/>
                <a:gd name="T36" fmla="*/ 126 w 204"/>
                <a:gd name="T37" fmla="*/ 60 h 210"/>
                <a:gd name="T38" fmla="*/ 132 w 204"/>
                <a:gd name="T39" fmla="*/ 48 h 210"/>
                <a:gd name="T40" fmla="*/ 144 w 204"/>
                <a:gd name="T41" fmla="*/ 48 h 210"/>
                <a:gd name="T42" fmla="*/ 150 w 204"/>
                <a:gd name="T43" fmla="*/ 60 h 210"/>
                <a:gd name="T44" fmla="*/ 156 w 204"/>
                <a:gd name="T45" fmla="*/ 72 h 210"/>
                <a:gd name="T46" fmla="*/ 156 w 204"/>
                <a:gd name="T47" fmla="*/ 90 h 210"/>
                <a:gd name="T48" fmla="*/ 144 w 204"/>
                <a:gd name="T49" fmla="*/ 96 h 210"/>
                <a:gd name="T50" fmla="*/ 144 w 204"/>
                <a:gd name="T51" fmla="*/ 102 h 210"/>
                <a:gd name="T52" fmla="*/ 156 w 204"/>
                <a:gd name="T53" fmla="*/ 108 h 210"/>
                <a:gd name="T54" fmla="*/ 168 w 204"/>
                <a:gd name="T55" fmla="*/ 108 h 210"/>
                <a:gd name="T56" fmla="*/ 174 w 204"/>
                <a:gd name="T57" fmla="*/ 108 h 210"/>
                <a:gd name="T58" fmla="*/ 174 w 204"/>
                <a:gd name="T59" fmla="*/ 114 h 210"/>
                <a:gd name="T60" fmla="*/ 180 w 204"/>
                <a:gd name="T61" fmla="*/ 126 h 210"/>
                <a:gd name="T62" fmla="*/ 186 w 204"/>
                <a:gd name="T63" fmla="*/ 126 h 210"/>
                <a:gd name="T64" fmla="*/ 198 w 204"/>
                <a:gd name="T65" fmla="*/ 132 h 210"/>
                <a:gd name="T66" fmla="*/ 204 w 204"/>
                <a:gd name="T67" fmla="*/ 144 h 210"/>
                <a:gd name="T68" fmla="*/ 204 w 204"/>
                <a:gd name="T69" fmla="*/ 150 h 210"/>
                <a:gd name="T70" fmla="*/ 204 w 204"/>
                <a:gd name="T71" fmla="*/ 156 h 210"/>
                <a:gd name="T72" fmla="*/ 198 w 204"/>
                <a:gd name="T73" fmla="*/ 168 h 210"/>
                <a:gd name="T74" fmla="*/ 192 w 204"/>
                <a:gd name="T75" fmla="*/ 180 h 210"/>
                <a:gd name="T76" fmla="*/ 192 w 204"/>
                <a:gd name="T77" fmla="*/ 198 h 210"/>
                <a:gd name="T78" fmla="*/ 186 w 204"/>
                <a:gd name="T79" fmla="*/ 204 h 210"/>
                <a:gd name="T80" fmla="*/ 162 w 204"/>
                <a:gd name="T81" fmla="*/ 198 h 210"/>
                <a:gd name="T82" fmla="*/ 150 w 204"/>
                <a:gd name="T83" fmla="*/ 192 h 210"/>
                <a:gd name="T84" fmla="*/ 138 w 204"/>
                <a:gd name="T85" fmla="*/ 186 h 210"/>
                <a:gd name="T86" fmla="*/ 126 w 204"/>
                <a:gd name="T87" fmla="*/ 180 h 210"/>
                <a:gd name="T88" fmla="*/ 114 w 204"/>
                <a:gd name="T89" fmla="*/ 174 h 210"/>
                <a:gd name="T90" fmla="*/ 102 w 204"/>
                <a:gd name="T91" fmla="*/ 162 h 210"/>
                <a:gd name="T92" fmla="*/ 96 w 204"/>
                <a:gd name="T93" fmla="*/ 162 h 210"/>
                <a:gd name="T94" fmla="*/ 90 w 204"/>
                <a:gd name="T95" fmla="*/ 150 h 210"/>
                <a:gd name="T96" fmla="*/ 96 w 204"/>
                <a:gd name="T97" fmla="*/ 156 h 210"/>
                <a:gd name="T98" fmla="*/ 96 w 204"/>
                <a:gd name="T99" fmla="*/ 150 h 210"/>
                <a:gd name="T100" fmla="*/ 78 w 204"/>
                <a:gd name="T101" fmla="*/ 144 h 210"/>
                <a:gd name="T102" fmla="*/ 72 w 204"/>
                <a:gd name="T103" fmla="*/ 132 h 210"/>
                <a:gd name="T104" fmla="*/ 72 w 204"/>
                <a:gd name="T105" fmla="*/ 126 h 210"/>
                <a:gd name="T106" fmla="*/ 66 w 204"/>
                <a:gd name="T107" fmla="*/ 126 h 210"/>
                <a:gd name="T108" fmla="*/ 60 w 204"/>
                <a:gd name="T109" fmla="*/ 126 h 210"/>
                <a:gd name="T110" fmla="*/ 48 w 204"/>
                <a:gd name="T111" fmla="*/ 114 h 210"/>
                <a:gd name="T112" fmla="*/ 30 w 204"/>
                <a:gd name="T113" fmla="*/ 108 h 210"/>
                <a:gd name="T114" fmla="*/ 36 w 204"/>
                <a:gd name="T115" fmla="*/ 108 h 210"/>
                <a:gd name="T116" fmla="*/ 24 w 204"/>
                <a:gd name="T117" fmla="*/ 102 h 210"/>
                <a:gd name="T118" fmla="*/ 6 w 204"/>
                <a:gd name="T119" fmla="*/ 90 h 210"/>
                <a:gd name="T120" fmla="*/ 0 w 204"/>
                <a:gd name="T121" fmla="*/ 84 h 210"/>
                <a:gd name="T122" fmla="*/ 0 w 204"/>
                <a:gd name="T123" fmla="*/ 78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4"/>
                <a:gd name="T187" fmla="*/ 0 h 210"/>
                <a:gd name="T188" fmla="*/ 204 w 204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4" h="210">
                  <a:moveTo>
                    <a:pt x="0" y="78"/>
                  </a:moveTo>
                  <a:lnTo>
                    <a:pt x="6" y="7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54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2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74" y="198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0" y="192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6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2050" y="1892"/>
              <a:ext cx="87" cy="214"/>
            </a:xfrm>
            <a:custGeom>
              <a:avLst/>
              <a:gdLst>
                <a:gd name="T0" fmla="*/ 36 w 102"/>
                <a:gd name="T1" fmla="*/ 6 h 252"/>
                <a:gd name="T2" fmla="*/ 42 w 102"/>
                <a:gd name="T3" fmla="*/ 12 h 252"/>
                <a:gd name="T4" fmla="*/ 54 w 102"/>
                <a:gd name="T5" fmla="*/ 18 h 252"/>
                <a:gd name="T6" fmla="*/ 48 w 102"/>
                <a:gd name="T7" fmla="*/ 30 h 252"/>
                <a:gd name="T8" fmla="*/ 48 w 102"/>
                <a:gd name="T9" fmla="*/ 42 h 252"/>
                <a:gd name="T10" fmla="*/ 66 w 102"/>
                <a:gd name="T11" fmla="*/ 54 h 252"/>
                <a:gd name="T12" fmla="*/ 78 w 102"/>
                <a:gd name="T13" fmla="*/ 72 h 252"/>
                <a:gd name="T14" fmla="*/ 78 w 102"/>
                <a:gd name="T15" fmla="*/ 84 h 252"/>
                <a:gd name="T16" fmla="*/ 84 w 102"/>
                <a:gd name="T17" fmla="*/ 96 h 252"/>
                <a:gd name="T18" fmla="*/ 90 w 102"/>
                <a:gd name="T19" fmla="*/ 108 h 252"/>
                <a:gd name="T20" fmla="*/ 90 w 102"/>
                <a:gd name="T21" fmla="*/ 120 h 252"/>
                <a:gd name="T22" fmla="*/ 90 w 102"/>
                <a:gd name="T23" fmla="*/ 132 h 252"/>
                <a:gd name="T24" fmla="*/ 90 w 102"/>
                <a:gd name="T25" fmla="*/ 144 h 252"/>
                <a:gd name="T26" fmla="*/ 90 w 102"/>
                <a:gd name="T27" fmla="*/ 168 h 252"/>
                <a:gd name="T28" fmla="*/ 90 w 102"/>
                <a:gd name="T29" fmla="*/ 180 h 252"/>
                <a:gd name="T30" fmla="*/ 96 w 102"/>
                <a:gd name="T31" fmla="*/ 186 h 252"/>
                <a:gd name="T32" fmla="*/ 90 w 102"/>
                <a:gd name="T33" fmla="*/ 192 h 252"/>
                <a:gd name="T34" fmla="*/ 90 w 102"/>
                <a:gd name="T35" fmla="*/ 216 h 252"/>
                <a:gd name="T36" fmla="*/ 90 w 102"/>
                <a:gd name="T37" fmla="*/ 228 h 252"/>
                <a:gd name="T38" fmla="*/ 96 w 102"/>
                <a:gd name="T39" fmla="*/ 234 h 252"/>
                <a:gd name="T40" fmla="*/ 102 w 102"/>
                <a:gd name="T41" fmla="*/ 240 h 252"/>
                <a:gd name="T42" fmla="*/ 102 w 102"/>
                <a:gd name="T43" fmla="*/ 246 h 252"/>
                <a:gd name="T44" fmla="*/ 90 w 102"/>
                <a:gd name="T45" fmla="*/ 246 h 252"/>
                <a:gd name="T46" fmla="*/ 78 w 102"/>
                <a:gd name="T47" fmla="*/ 252 h 252"/>
                <a:gd name="T48" fmla="*/ 66 w 102"/>
                <a:gd name="T49" fmla="*/ 252 h 252"/>
                <a:gd name="T50" fmla="*/ 60 w 102"/>
                <a:gd name="T51" fmla="*/ 246 h 252"/>
                <a:gd name="T52" fmla="*/ 54 w 102"/>
                <a:gd name="T53" fmla="*/ 240 h 252"/>
                <a:gd name="T54" fmla="*/ 48 w 102"/>
                <a:gd name="T55" fmla="*/ 234 h 252"/>
                <a:gd name="T56" fmla="*/ 42 w 102"/>
                <a:gd name="T57" fmla="*/ 228 h 252"/>
                <a:gd name="T58" fmla="*/ 36 w 102"/>
                <a:gd name="T59" fmla="*/ 222 h 252"/>
                <a:gd name="T60" fmla="*/ 36 w 102"/>
                <a:gd name="T61" fmla="*/ 210 h 252"/>
                <a:gd name="T62" fmla="*/ 42 w 102"/>
                <a:gd name="T63" fmla="*/ 198 h 252"/>
                <a:gd name="T64" fmla="*/ 42 w 102"/>
                <a:gd name="T65" fmla="*/ 186 h 252"/>
                <a:gd name="T66" fmla="*/ 36 w 102"/>
                <a:gd name="T67" fmla="*/ 180 h 252"/>
                <a:gd name="T68" fmla="*/ 42 w 102"/>
                <a:gd name="T69" fmla="*/ 174 h 252"/>
                <a:gd name="T70" fmla="*/ 42 w 102"/>
                <a:gd name="T71" fmla="*/ 162 h 252"/>
                <a:gd name="T72" fmla="*/ 42 w 102"/>
                <a:gd name="T73" fmla="*/ 150 h 252"/>
                <a:gd name="T74" fmla="*/ 48 w 102"/>
                <a:gd name="T75" fmla="*/ 144 h 252"/>
                <a:gd name="T76" fmla="*/ 42 w 102"/>
                <a:gd name="T77" fmla="*/ 138 h 252"/>
                <a:gd name="T78" fmla="*/ 36 w 102"/>
                <a:gd name="T79" fmla="*/ 132 h 252"/>
                <a:gd name="T80" fmla="*/ 30 w 102"/>
                <a:gd name="T81" fmla="*/ 126 h 252"/>
                <a:gd name="T82" fmla="*/ 36 w 102"/>
                <a:gd name="T83" fmla="*/ 120 h 252"/>
                <a:gd name="T84" fmla="*/ 30 w 102"/>
                <a:gd name="T85" fmla="*/ 108 h 252"/>
                <a:gd name="T86" fmla="*/ 36 w 102"/>
                <a:gd name="T87" fmla="*/ 102 h 252"/>
                <a:gd name="T88" fmla="*/ 36 w 102"/>
                <a:gd name="T89" fmla="*/ 90 h 252"/>
                <a:gd name="T90" fmla="*/ 30 w 102"/>
                <a:gd name="T91" fmla="*/ 84 h 252"/>
                <a:gd name="T92" fmla="*/ 24 w 102"/>
                <a:gd name="T93" fmla="*/ 90 h 252"/>
                <a:gd name="T94" fmla="*/ 18 w 102"/>
                <a:gd name="T95" fmla="*/ 84 h 252"/>
                <a:gd name="T96" fmla="*/ 24 w 102"/>
                <a:gd name="T97" fmla="*/ 78 h 252"/>
                <a:gd name="T98" fmla="*/ 30 w 102"/>
                <a:gd name="T99" fmla="*/ 72 h 252"/>
                <a:gd name="T100" fmla="*/ 30 w 102"/>
                <a:gd name="T101" fmla="*/ 66 h 252"/>
                <a:gd name="T102" fmla="*/ 30 w 102"/>
                <a:gd name="T103" fmla="*/ 66 h 252"/>
                <a:gd name="T104" fmla="*/ 30 w 102"/>
                <a:gd name="T105" fmla="*/ 54 h 252"/>
                <a:gd name="T106" fmla="*/ 30 w 102"/>
                <a:gd name="T107" fmla="*/ 42 h 252"/>
                <a:gd name="T108" fmla="*/ 24 w 102"/>
                <a:gd name="T109" fmla="*/ 36 h 252"/>
                <a:gd name="T110" fmla="*/ 18 w 102"/>
                <a:gd name="T111" fmla="*/ 30 h 252"/>
                <a:gd name="T112" fmla="*/ 6 w 102"/>
                <a:gd name="T113" fmla="*/ 30 h 252"/>
                <a:gd name="T114" fmla="*/ 6 w 102"/>
                <a:gd name="T115" fmla="*/ 18 h 252"/>
                <a:gd name="T116" fmla="*/ 12 w 102"/>
                <a:gd name="T117" fmla="*/ 6 h 252"/>
                <a:gd name="T118" fmla="*/ 0 w 102"/>
                <a:gd name="T119" fmla="*/ 6 h 2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2"/>
                <a:gd name="T181" fmla="*/ 0 h 252"/>
                <a:gd name="T182" fmla="*/ 102 w 102"/>
                <a:gd name="T183" fmla="*/ 252 h 2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2" h="252">
                  <a:moveTo>
                    <a:pt x="0" y="0"/>
                  </a:move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90" y="156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0" y="246"/>
                  </a:lnTo>
                  <a:lnTo>
                    <a:pt x="84" y="246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91" y="1841"/>
              <a:ext cx="132" cy="260"/>
            </a:xfrm>
            <a:custGeom>
              <a:avLst/>
              <a:gdLst>
                <a:gd name="T0" fmla="*/ 12 w 156"/>
                <a:gd name="T1" fmla="*/ 66 h 306"/>
                <a:gd name="T2" fmla="*/ 12 w 156"/>
                <a:gd name="T3" fmla="*/ 66 h 306"/>
                <a:gd name="T4" fmla="*/ 18 w 156"/>
                <a:gd name="T5" fmla="*/ 54 h 306"/>
                <a:gd name="T6" fmla="*/ 30 w 156"/>
                <a:gd name="T7" fmla="*/ 48 h 306"/>
                <a:gd name="T8" fmla="*/ 48 w 156"/>
                <a:gd name="T9" fmla="*/ 48 h 306"/>
                <a:gd name="T10" fmla="*/ 72 w 156"/>
                <a:gd name="T11" fmla="*/ 42 h 306"/>
                <a:gd name="T12" fmla="*/ 78 w 156"/>
                <a:gd name="T13" fmla="*/ 30 h 306"/>
                <a:gd name="T14" fmla="*/ 78 w 156"/>
                <a:gd name="T15" fmla="*/ 24 h 306"/>
                <a:gd name="T16" fmla="*/ 84 w 156"/>
                <a:gd name="T17" fmla="*/ 24 h 306"/>
                <a:gd name="T18" fmla="*/ 78 w 156"/>
                <a:gd name="T19" fmla="*/ 12 h 306"/>
                <a:gd name="T20" fmla="*/ 90 w 156"/>
                <a:gd name="T21" fmla="*/ 6 h 306"/>
                <a:gd name="T22" fmla="*/ 102 w 156"/>
                <a:gd name="T23" fmla="*/ 0 h 306"/>
                <a:gd name="T24" fmla="*/ 114 w 156"/>
                <a:gd name="T25" fmla="*/ 12 h 306"/>
                <a:gd name="T26" fmla="*/ 126 w 156"/>
                <a:gd name="T27" fmla="*/ 18 h 306"/>
                <a:gd name="T28" fmla="*/ 138 w 156"/>
                <a:gd name="T29" fmla="*/ 30 h 306"/>
                <a:gd name="T30" fmla="*/ 138 w 156"/>
                <a:gd name="T31" fmla="*/ 54 h 306"/>
                <a:gd name="T32" fmla="*/ 150 w 156"/>
                <a:gd name="T33" fmla="*/ 66 h 306"/>
                <a:gd name="T34" fmla="*/ 150 w 156"/>
                <a:gd name="T35" fmla="*/ 84 h 306"/>
                <a:gd name="T36" fmla="*/ 150 w 156"/>
                <a:gd name="T37" fmla="*/ 96 h 306"/>
                <a:gd name="T38" fmla="*/ 138 w 156"/>
                <a:gd name="T39" fmla="*/ 102 h 306"/>
                <a:gd name="T40" fmla="*/ 144 w 156"/>
                <a:gd name="T41" fmla="*/ 114 h 306"/>
                <a:gd name="T42" fmla="*/ 138 w 156"/>
                <a:gd name="T43" fmla="*/ 126 h 306"/>
                <a:gd name="T44" fmla="*/ 126 w 156"/>
                <a:gd name="T45" fmla="*/ 132 h 306"/>
                <a:gd name="T46" fmla="*/ 120 w 156"/>
                <a:gd name="T47" fmla="*/ 150 h 306"/>
                <a:gd name="T48" fmla="*/ 114 w 156"/>
                <a:gd name="T49" fmla="*/ 162 h 306"/>
                <a:gd name="T50" fmla="*/ 102 w 156"/>
                <a:gd name="T51" fmla="*/ 168 h 306"/>
                <a:gd name="T52" fmla="*/ 102 w 156"/>
                <a:gd name="T53" fmla="*/ 174 h 306"/>
                <a:gd name="T54" fmla="*/ 102 w 156"/>
                <a:gd name="T55" fmla="*/ 180 h 306"/>
                <a:gd name="T56" fmla="*/ 96 w 156"/>
                <a:gd name="T57" fmla="*/ 192 h 306"/>
                <a:gd name="T58" fmla="*/ 96 w 156"/>
                <a:gd name="T59" fmla="*/ 210 h 306"/>
                <a:gd name="T60" fmla="*/ 96 w 156"/>
                <a:gd name="T61" fmla="*/ 228 h 306"/>
                <a:gd name="T62" fmla="*/ 102 w 156"/>
                <a:gd name="T63" fmla="*/ 246 h 306"/>
                <a:gd name="T64" fmla="*/ 102 w 156"/>
                <a:gd name="T65" fmla="*/ 258 h 306"/>
                <a:gd name="T66" fmla="*/ 102 w 156"/>
                <a:gd name="T67" fmla="*/ 264 h 306"/>
                <a:gd name="T68" fmla="*/ 96 w 156"/>
                <a:gd name="T69" fmla="*/ 276 h 306"/>
                <a:gd name="T70" fmla="*/ 96 w 156"/>
                <a:gd name="T71" fmla="*/ 282 h 306"/>
                <a:gd name="T72" fmla="*/ 96 w 156"/>
                <a:gd name="T73" fmla="*/ 300 h 306"/>
                <a:gd name="T74" fmla="*/ 72 w 156"/>
                <a:gd name="T75" fmla="*/ 300 h 306"/>
                <a:gd name="T76" fmla="*/ 54 w 156"/>
                <a:gd name="T77" fmla="*/ 306 h 306"/>
                <a:gd name="T78" fmla="*/ 48 w 156"/>
                <a:gd name="T79" fmla="*/ 306 h 306"/>
                <a:gd name="T80" fmla="*/ 54 w 156"/>
                <a:gd name="T81" fmla="*/ 300 h 306"/>
                <a:gd name="T82" fmla="*/ 48 w 156"/>
                <a:gd name="T83" fmla="*/ 288 h 306"/>
                <a:gd name="T84" fmla="*/ 42 w 156"/>
                <a:gd name="T85" fmla="*/ 276 h 306"/>
                <a:gd name="T86" fmla="*/ 42 w 156"/>
                <a:gd name="T87" fmla="*/ 246 h 306"/>
                <a:gd name="T88" fmla="*/ 42 w 156"/>
                <a:gd name="T89" fmla="*/ 240 h 306"/>
                <a:gd name="T90" fmla="*/ 42 w 156"/>
                <a:gd name="T91" fmla="*/ 216 h 306"/>
                <a:gd name="T92" fmla="*/ 42 w 156"/>
                <a:gd name="T93" fmla="*/ 192 h 306"/>
                <a:gd name="T94" fmla="*/ 42 w 156"/>
                <a:gd name="T95" fmla="*/ 174 h 306"/>
                <a:gd name="T96" fmla="*/ 36 w 156"/>
                <a:gd name="T97" fmla="*/ 156 h 306"/>
                <a:gd name="T98" fmla="*/ 30 w 156"/>
                <a:gd name="T99" fmla="*/ 138 h 306"/>
                <a:gd name="T100" fmla="*/ 18 w 156"/>
                <a:gd name="T101" fmla="*/ 114 h 306"/>
                <a:gd name="T102" fmla="*/ 0 w 156"/>
                <a:gd name="T103" fmla="*/ 96 h 306"/>
                <a:gd name="T104" fmla="*/ 6 w 156"/>
                <a:gd name="T105" fmla="*/ 78 h 3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6"/>
                <a:gd name="T160" fmla="*/ 0 h 306"/>
                <a:gd name="T161" fmla="*/ 156 w 156"/>
                <a:gd name="T162" fmla="*/ 306 h 30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6" h="306">
                  <a:moveTo>
                    <a:pt x="6" y="72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26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102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6" y="222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6" y="252"/>
                  </a:lnTo>
                  <a:lnTo>
                    <a:pt x="102" y="258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6" y="282"/>
                  </a:lnTo>
                  <a:lnTo>
                    <a:pt x="102" y="282"/>
                  </a:lnTo>
                  <a:lnTo>
                    <a:pt x="96" y="282"/>
                  </a:lnTo>
                  <a:lnTo>
                    <a:pt x="96" y="288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78" y="300"/>
                  </a:lnTo>
                  <a:lnTo>
                    <a:pt x="72" y="300"/>
                  </a:lnTo>
                  <a:lnTo>
                    <a:pt x="66" y="300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54" y="306"/>
                  </a:lnTo>
                  <a:lnTo>
                    <a:pt x="48" y="300"/>
                  </a:lnTo>
                  <a:lnTo>
                    <a:pt x="54" y="300"/>
                  </a:lnTo>
                  <a:lnTo>
                    <a:pt x="48" y="300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16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0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626" y="1372"/>
              <a:ext cx="444" cy="678"/>
            </a:xfrm>
            <a:custGeom>
              <a:avLst/>
              <a:gdLst>
                <a:gd name="T0" fmla="*/ 168 w 522"/>
                <a:gd name="T1" fmla="*/ 24 h 798"/>
                <a:gd name="T2" fmla="*/ 378 w 522"/>
                <a:gd name="T3" fmla="*/ 126 h 798"/>
                <a:gd name="T4" fmla="*/ 522 w 522"/>
                <a:gd name="T5" fmla="*/ 198 h 798"/>
                <a:gd name="T6" fmla="*/ 498 w 522"/>
                <a:gd name="T7" fmla="*/ 390 h 798"/>
                <a:gd name="T8" fmla="*/ 480 w 522"/>
                <a:gd name="T9" fmla="*/ 384 h 798"/>
                <a:gd name="T10" fmla="*/ 474 w 522"/>
                <a:gd name="T11" fmla="*/ 402 h 798"/>
                <a:gd name="T12" fmla="*/ 462 w 522"/>
                <a:gd name="T13" fmla="*/ 420 h 798"/>
                <a:gd name="T14" fmla="*/ 450 w 522"/>
                <a:gd name="T15" fmla="*/ 438 h 798"/>
                <a:gd name="T16" fmla="*/ 444 w 522"/>
                <a:gd name="T17" fmla="*/ 456 h 798"/>
                <a:gd name="T18" fmla="*/ 432 w 522"/>
                <a:gd name="T19" fmla="*/ 474 h 798"/>
                <a:gd name="T20" fmla="*/ 438 w 522"/>
                <a:gd name="T21" fmla="*/ 504 h 798"/>
                <a:gd name="T22" fmla="*/ 420 w 522"/>
                <a:gd name="T23" fmla="*/ 522 h 798"/>
                <a:gd name="T24" fmla="*/ 426 w 522"/>
                <a:gd name="T25" fmla="*/ 540 h 798"/>
                <a:gd name="T26" fmla="*/ 444 w 522"/>
                <a:gd name="T27" fmla="*/ 546 h 798"/>
                <a:gd name="T28" fmla="*/ 456 w 522"/>
                <a:gd name="T29" fmla="*/ 570 h 798"/>
                <a:gd name="T30" fmla="*/ 474 w 522"/>
                <a:gd name="T31" fmla="*/ 606 h 798"/>
                <a:gd name="T32" fmla="*/ 450 w 522"/>
                <a:gd name="T33" fmla="*/ 624 h 798"/>
                <a:gd name="T34" fmla="*/ 438 w 522"/>
                <a:gd name="T35" fmla="*/ 624 h 798"/>
                <a:gd name="T36" fmla="*/ 420 w 522"/>
                <a:gd name="T37" fmla="*/ 630 h 798"/>
                <a:gd name="T38" fmla="*/ 408 w 522"/>
                <a:gd name="T39" fmla="*/ 642 h 798"/>
                <a:gd name="T40" fmla="*/ 408 w 522"/>
                <a:gd name="T41" fmla="*/ 654 h 798"/>
                <a:gd name="T42" fmla="*/ 384 w 522"/>
                <a:gd name="T43" fmla="*/ 672 h 798"/>
                <a:gd name="T44" fmla="*/ 372 w 522"/>
                <a:gd name="T45" fmla="*/ 684 h 798"/>
                <a:gd name="T46" fmla="*/ 354 w 522"/>
                <a:gd name="T47" fmla="*/ 702 h 798"/>
                <a:gd name="T48" fmla="*/ 336 w 522"/>
                <a:gd name="T49" fmla="*/ 714 h 798"/>
                <a:gd name="T50" fmla="*/ 312 w 522"/>
                <a:gd name="T51" fmla="*/ 720 h 798"/>
                <a:gd name="T52" fmla="*/ 276 w 522"/>
                <a:gd name="T53" fmla="*/ 720 h 798"/>
                <a:gd name="T54" fmla="*/ 282 w 522"/>
                <a:gd name="T55" fmla="*/ 738 h 798"/>
                <a:gd name="T56" fmla="*/ 264 w 522"/>
                <a:gd name="T57" fmla="*/ 756 h 798"/>
                <a:gd name="T58" fmla="*/ 210 w 522"/>
                <a:gd name="T59" fmla="*/ 774 h 798"/>
                <a:gd name="T60" fmla="*/ 198 w 522"/>
                <a:gd name="T61" fmla="*/ 774 h 798"/>
                <a:gd name="T62" fmla="*/ 174 w 522"/>
                <a:gd name="T63" fmla="*/ 786 h 798"/>
                <a:gd name="T64" fmla="*/ 168 w 522"/>
                <a:gd name="T65" fmla="*/ 792 h 798"/>
                <a:gd name="T66" fmla="*/ 156 w 522"/>
                <a:gd name="T67" fmla="*/ 780 h 798"/>
                <a:gd name="T68" fmla="*/ 138 w 522"/>
                <a:gd name="T69" fmla="*/ 786 h 798"/>
                <a:gd name="T70" fmla="*/ 114 w 522"/>
                <a:gd name="T71" fmla="*/ 798 h 798"/>
                <a:gd name="T72" fmla="*/ 102 w 522"/>
                <a:gd name="T73" fmla="*/ 780 h 798"/>
                <a:gd name="T74" fmla="*/ 90 w 522"/>
                <a:gd name="T75" fmla="*/ 738 h 798"/>
                <a:gd name="T76" fmla="*/ 60 w 522"/>
                <a:gd name="T77" fmla="*/ 726 h 798"/>
                <a:gd name="T78" fmla="*/ 42 w 522"/>
                <a:gd name="T79" fmla="*/ 702 h 798"/>
                <a:gd name="T80" fmla="*/ 36 w 522"/>
                <a:gd name="T81" fmla="*/ 672 h 798"/>
                <a:gd name="T82" fmla="*/ 72 w 522"/>
                <a:gd name="T83" fmla="*/ 672 h 798"/>
                <a:gd name="T84" fmla="*/ 108 w 522"/>
                <a:gd name="T85" fmla="*/ 672 h 798"/>
                <a:gd name="T86" fmla="*/ 90 w 522"/>
                <a:gd name="T87" fmla="*/ 654 h 798"/>
                <a:gd name="T88" fmla="*/ 84 w 522"/>
                <a:gd name="T89" fmla="*/ 624 h 798"/>
                <a:gd name="T90" fmla="*/ 84 w 522"/>
                <a:gd name="T91" fmla="*/ 600 h 798"/>
                <a:gd name="T92" fmla="*/ 78 w 522"/>
                <a:gd name="T93" fmla="*/ 582 h 798"/>
                <a:gd name="T94" fmla="*/ 78 w 522"/>
                <a:gd name="T95" fmla="*/ 582 h 798"/>
                <a:gd name="T96" fmla="*/ 72 w 522"/>
                <a:gd name="T97" fmla="*/ 564 h 798"/>
                <a:gd name="T98" fmla="*/ 66 w 522"/>
                <a:gd name="T99" fmla="*/ 534 h 798"/>
                <a:gd name="T100" fmla="*/ 30 w 522"/>
                <a:gd name="T101" fmla="*/ 516 h 798"/>
                <a:gd name="T102" fmla="*/ 0 w 522"/>
                <a:gd name="T103" fmla="*/ 450 h 798"/>
                <a:gd name="T104" fmla="*/ 18 w 522"/>
                <a:gd name="T105" fmla="*/ 426 h 798"/>
                <a:gd name="T106" fmla="*/ 60 w 522"/>
                <a:gd name="T107" fmla="*/ 372 h 798"/>
                <a:gd name="T108" fmla="*/ 108 w 522"/>
                <a:gd name="T109" fmla="*/ 216 h 798"/>
                <a:gd name="T110" fmla="*/ 126 w 522"/>
                <a:gd name="T111" fmla="*/ 156 h 798"/>
                <a:gd name="T112" fmla="*/ 102 w 522"/>
                <a:gd name="T113" fmla="*/ 126 h 798"/>
                <a:gd name="T114" fmla="*/ 84 w 522"/>
                <a:gd name="T115" fmla="*/ 54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2"/>
                <a:gd name="T175" fmla="*/ 0 h 798"/>
                <a:gd name="T176" fmla="*/ 522 w 522"/>
                <a:gd name="T177" fmla="*/ 798 h 79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417" y="1810"/>
              <a:ext cx="326" cy="484"/>
            </a:xfrm>
            <a:custGeom>
              <a:avLst/>
              <a:gdLst>
                <a:gd name="T0" fmla="*/ 18 w 384"/>
                <a:gd name="T1" fmla="*/ 396 h 570"/>
                <a:gd name="T2" fmla="*/ 24 w 384"/>
                <a:gd name="T3" fmla="*/ 360 h 570"/>
                <a:gd name="T4" fmla="*/ 48 w 384"/>
                <a:gd name="T5" fmla="*/ 336 h 570"/>
                <a:gd name="T6" fmla="*/ 60 w 384"/>
                <a:gd name="T7" fmla="*/ 330 h 570"/>
                <a:gd name="T8" fmla="*/ 72 w 384"/>
                <a:gd name="T9" fmla="*/ 306 h 570"/>
                <a:gd name="T10" fmla="*/ 102 w 384"/>
                <a:gd name="T11" fmla="*/ 300 h 570"/>
                <a:gd name="T12" fmla="*/ 120 w 384"/>
                <a:gd name="T13" fmla="*/ 312 h 570"/>
                <a:gd name="T14" fmla="*/ 138 w 384"/>
                <a:gd name="T15" fmla="*/ 324 h 570"/>
                <a:gd name="T16" fmla="*/ 150 w 384"/>
                <a:gd name="T17" fmla="*/ 312 h 570"/>
                <a:gd name="T18" fmla="*/ 168 w 384"/>
                <a:gd name="T19" fmla="*/ 300 h 570"/>
                <a:gd name="T20" fmla="*/ 174 w 384"/>
                <a:gd name="T21" fmla="*/ 270 h 570"/>
                <a:gd name="T22" fmla="*/ 186 w 384"/>
                <a:gd name="T23" fmla="*/ 240 h 570"/>
                <a:gd name="T24" fmla="*/ 210 w 384"/>
                <a:gd name="T25" fmla="*/ 216 h 570"/>
                <a:gd name="T26" fmla="*/ 216 w 384"/>
                <a:gd name="T27" fmla="*/ 186 h 570"/>
                <a:gd name="T28" fmla="*/ 240 w 384"/>
                <a:gd name="T29" fmla="*/ 168 h 570"/>
                <a:gd name="T30" fmla="*/ 246 w 384"/>
                <a:gd name="T31" fmla="*/ 150 h 570"/>
                <a:gd name="T32" fmla="*/ 252 w 384"/>
                <a:gd name="T33" fmla="*/ 114 h 570"/>
                <a:gd name="T34" fmla="*/ 276 w 384"/>
                <a:gd name="T35" fmla="*/ 90 h 570"/>
                <a:gd name="T36" fmla="*/ 306 w 384"/>
                <a:gd name="T37" fmla="*/ 78 h 570"/>
                <a:gd name="T38" fmla="*/ 306 w 384"/>
                <a:gd name="T39" fmla="*/ 48 h 570"/>
                <a:gd name="T40" fmla="*/ 276 w 384"/>
                <a:gd name="T41" fmla="*/ 0 h 570"/>
                <a:gd name="T42" fmla="*/ 306 w 384"/>
                <a:gd name="T43" fmla="*/ 24 h 570"/>
                <a:gd name="T44" fmla="*/ 324 w 384"/>
                <a:gd name="T45" fmla="*/ 54 h 570"/>
                <a:gd name="T46" fmla="*/ 330 w 384"/>
                <a:gd name="T47" fmla="*/ 66 h 570"/>
                <a:gd name="T48" fmla="*/ 330 w 384"/>
                <a:gd name="T49" fmla="*/ 72 h 570"/>
                <a:gd name="T50" fmla="*/ 324 w 384"/>
                <a:gd name="T51" fmla="*/ 108 h 570"/>
                <a:gd name="T52" fmla="*/ 336 w 384"/>
                <a:gd name="T53" fmla="*/ 138 h 570"/>
                <a:gd name="T54" fmla="*/ 348 w 384"/>
                <a:gd name="T55" fmla="*/ 156 h 570"/>
                <a:gd name="T56" fmla="*/ 306 w 384"/>
                <a:gd name="T57" fmla="*/ 156 h 570"/>
                <a:gd name="T58" fmla="*/ 276 w 384"/>
                <a:gd name="T59" fmla="*/ 168 h 570"/>
                <a:gd name="T60" fmla="*/ 300 w 384"/>
                <a:gd name="T61" fmla="*/ 204 h 570"/>
                <a:gd name="T62" fmla="*/ 330 w 384"/>
                <a:gd name="T63" fmla="*/ 222 h 570"/>
                <a:gd name="T64" fmla="*/ 348 w 384"/>
                <a:gd name="T65" fmla="*/ 264 h 570"/>
                <a:gd name="T66" fmla="*/ 342 w 384"/>
                <a:gd name="T67" fmla="*/ 288 h 570"/>
                <a:gd name="T68" fmla="*/ 324 w 384"/>
                <a:gd name="T69" fmla="*/ 318 h 570"/>
                <a:gd name="T70" fmla="*/ 300 w 384"/>
                <a:gd name="T71" fmla="*/ 348 h 570"/>
                <a:gd name="T72" fmla="*/ 306 w 384"/>
                <a:gd name="T73" fmla="*/ 372 h 570"/>
                <a:gd name="T74" fmla="*/ 306 w 384"/>
                <a:gd name="T75" fmla="*/ 390 h 570"/>
                <a:gd name="T76" fmla="*/ 312 w 384"/>
                <a:gd name="T77" fmla="*/ 426 h 570"/>
                <a:gd name="T78" fmla="*/ 330 w 384"/>
                <a:gd name="T79" fmla="*/ 450 h 570"/>
                <a:gd name="T80" fmla="*/ 360 w 384"/>
                <a:gd name="T81" fmla="*/ 498 h 570"/>
                <a:gd name="T82" fmla="*/ 378 w 384"/>
                <a:gd name="T83" fmla="*/ 522 h 570"/>
                <a:gd name="T84" fmla="*/ 378 w 384"/>
                <a:gd name="T85" fmla="*/ 540 h 570"/>
                <a:gd name="T86" fmla="*/ 372 w 384"/>
                <a:gd name="T87" fmla="*/ 564 h 570"/>
                <a:gd name="T88" fmla="*/ 342 w 384"/>
                <a:gd name="T89" fmla="*/ 552 h 570"/>
                <a:gd name="T90" fmla="*/ 318 w 384"/>
                <a:gd name="T91" fmla="*/ 552 h 570"/>
                <a:gd name="T92" fmla="*/ 300 w 384"/>
                <a:gd name="T93" fmla="*/ 540 h 570"/>
                <a:gd name="T94" fmla="*/ 234 w 384"/>
                <a:gd name="T95" fmla="*/ 540 h 570"/>
                <a:gd name="T96" fmla="*/ 192 w 384"/>
                <a:gd name="T97" fmla="*/ 540 h 570"/>
                <a:gd name="T98" fmla="*/ 156 w 384"/>
                <a:gd name="T99" fmla="*/ 534 h 570"/>
                <a:gd name="T100" fmla="*/ 144 w 384"/>
                <a:gd name="T101" fmla="*/ 534 h 570"/>
                <a:gd name="T102" fmla="*/ 132 w 384"/>
                <a:gd name="T103" fmla="*/ 546 h 570"/>
                <a:gd name="T104" fmla="*/ 66 w 384"/>
                <a:gd name="T105" fmla="*/ 540 h 570"/>
                <a:gd name="T106" fmla="*/ 72 w 384"/>
                <a:gd name="T107" fmla="*/ 510 h 570"/>
                <a:gd name="T108" fmla="*/ 60 w 384"/>
                <a:gd name="T109" fmla="*/ 480 h 570"/>
                <a:gd name="T110" fmla="*/ 60 w 384"/>
                <a:gd name="T111" fmla="*/ 462 h 570"/>
                <a:gd name="T112" fmla="*/ 54 w 384"/>
                <a:gd name="T113" fmla="*/ 450 h 570"/>
                <a:gd name="T114" fmla="*/ 36 w 384"/>
                <a:gd name="T115" fmla="*/ 450 h 570"/>
                <a:gd name="T116" fmla="*/ 18 w 384"/>
                <a:gd name="T117" fmla="*/ 426 h 570"/>
                <a:gd name="T118" fmla="*/ 12 w 384"/>
                <a:gd name="T119" fmla="*/ 426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570"/>
                <a:gd name="T182" fmla="*/ 384 w 384"/>
                <a:gd name="T183" fmla="*/ 570 h 57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4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667" y="1897"/>
              <a:ext cx="550" cy="372"/>
            </a:xfrm>
            <a:custGeom>
              <a:avLst/>
              <a:gdLst>
                <a:gd name="T0" fmla="*/ 90 w 648"/>
                <a:gd name="T1" fmla="*/ 174 h 438"/>
                <a:gd name="T2" fmla="*/ 108 w 648"/>
                <a:gd name="T3" fmla="*/ 156 h 438"/>
                <a:gd name="T4" fmla="*/ 126 w 648"/>
                <a:gd name="T5" fmla="*/ 174 h 438"/>
                <a:gd name="T6" fmla="*/ 150 w 648"/>
                <a:gd name="T7" fmla="*/ 162 h 438"/>
                <a:gd name="T8" fmla="*/ 174 w 648"/>
                <a:gd name="T9" fmla="*/ 156 h 438"/>
                <a:gd name="T10" fmla="*/ 228 w 648"/>
                <a:gd name="T11" fmla="*/ 132 h 438"/>
                <a:gd name="T12" fmla="*/ 228 w 648"/>
                <a:gd name="T13" fmla="*/ 108 h 438"/>
                <a:gd name="T14" fmla="*/ 270 w 648"/>
                <a:gd name="T15" fmla="*/ 102 h 438"/>
                <a:gd name="T16" fmla="*/ 300 w 648"/>
                <a:gd name="T17" fmla="*/ 90 h 438"/>
                <a:gd name="T18" fmla="*/ 324 w 648"/>
                <a:gd name="T19" fmla="*/ 72 h 438"/>
                <a:gd name="T20" fmla="*/ 342 w 648"/>
                <a:gd name="T21" fmla="*/ 54 h 438"/>
                <a:gd name="T22" fmla="*/ 366 w 648"/>
                <a:gd name="T23" fmla="*/ 36 h 438"/>
                <a:gd name="T24" fmla="*/ 366 w 648"/>
                <a:gd name="T25" fmla="*/ 12 h 438"/>
                <a:gd name="T26" fmla="*/ 396 w 648"/>
                <a:gd name="T27" fmla="*/ 6 h 438"/>
                <a:gd name="T28" fmla="*/ 420 w 648"/>
                <a:gd name="T29" fmla="*/ 6 h 438"/>
                <a:gd name="T30" fmla="*/ 444 w 648"/>
                <a:gd name="T31" fmla="*/ 30 h 438"/>
                <a:gd name="T32" fmla="*/ 456 w 648"/>
                <a:gd name="T33" fmla="*/ 90 h 438"/>
                <a:gd name="T34" fmla="*/ 456 w 648"/>
                <a:gd name="T35" fmla="*/ 114 h 438"/>
                <a:gd name="T36" fmla="*/ 486 w 648"/>
                <a:gd name="T37" fmla="*/ 114 h 438"/>
                <a:gd name="T38" fmla="*/ 504 w 648"/>
                <a:gd name="T39" fmla="*/ 138 h 438"/>
                <a:gd name="T40" fmla="*/ 528 w 648"/>
                <a:gd name="T41" fmla="*/ 156 h 438"/>
                <a:gd name="T42" fmla="*/ 540 w 648"/>
                <a:gd name="T43" fmla="*/ 180 h 438"/>
                <a:gd name="T44" fmla="*/ 564 w 648"/>
                <a:gd name="T45" fmla="*/ 198 h 438"/>
                <a:gd name="T46" fmla="*/ 594 w 648"/>
                <a:gd name="T47" fmla="*/ 222 h 438"/>
                <a:gd name="T48" fmla="*/ 600 w 648"/>
                <a:gd name="T49" fmla="*/ 252 h 438"/>
                <a:gd name="T50" fmla="*/ 636 w 648"/>
                <a:gd name="T51" fmla="*/ 264 h 438"/>
                <a:gd name="T52" fmla="*/ 648 w 648"/>
                <a:gd name="T53" fmla="*/ 300 h 438"/>
                <a:gd name="T54" fmla="*/ 618 w 648"/>
                <a:gd name="T55" fmla="*/ 300 h 438"/>
                <a:gd name="T56" fmla="*/ 606 w 648"/>
                <a:gd name="T57" fmla="*/ 300 h 438"/>
                <a:gd name="T58" fmla="*/ 588 w 648"/>
                <a:gd name="T59" fmla="*/ 294 h 438"/>
                <a:gd name="T60" fmla="*/ 576 w 648"/>
                <a:gd name="T61" fmla="*/ 294 h 438"/>
                <a:gd name="T62" fmla="*/ 558 w 648"/>
                <a:gd name="T63" fmla="*/ 282 h 438"/>
                <a:gd name="T64" fmla="*/ 540 w 648"/>
                <a:gd name="T65" fmla="*/ 288 h 438"/>
                <a:gd name="T66" fmla="*/ 528 w 648"/>
                <a:gd name="T67" fmla="*/ 300 h 438"/>
                <a:gd name="T68" fmla="*/ 498 w 648"/>
                <a:gd name="T69" fmla="*/ 294 h 438"/>
                <a:gd name="T70" fmla="*/ 486 w 648"/>
                <a:gd name="T71" fmla="*/ 306 h 438"/>
                <a:gd name="T72" fmla="*/ 456 w 648"/>
                <a:gd name="T73" fmla="*/ 312 h 438"/>
                <a:gd name="T74" fmla="*/ 432 w 648"/>
                <a:gd name="T75" fmla="*/ 312 h 438"/>
                <a:gd name="T76" fmla="*/ 414 w 648"/>
                <a:gd name="T77" fmla="*/ 324 h 438"/>
                <a:gd name="T78" fmla="*/ 396 w 648"/>
                <a:gd name="T79" fmla="*/ 342 h 438"/>
                <a:gd name="T80" fmla="*/ 366 w 648"/>
                <a:gd name="T81" fmla="*/ 336 h 438"/>
                <a:gd name="T82" fmla="*/ 324 w 648"/>
                <a:gd name="T83" fmla="*/ 330 h 438"/>
                <a:gd name="T84" fmla="*/ 288 w 648"/>
                <a:gd name="T85" fmla="*/ 312 h 438"/>
                <a:gd name="T86" fmla="*/ 252 w 648"/>
                <a:gd name="T87" fmla="*/ 294 h 438"/>
                <a:gd name="T88" fmla="*/ 222 w 648"/>
                <a:gd name="T89" fmla="*/ 318 h 438"/>
                <a:gd name="T90" fmla="*/ 210 w 648"/>
                <a:gd name="T91" fmla="*/ 348 h 438"/>
                <a:gd name="T92" fmla="*/ 204 w 648"/>
                <a:gd name="T93" fmla="*/ 366 h 438"/>
                <a:gd name="T94" fmla="*/ 168 w 648"/>
                <a:gd name="T95" fmla="*/ 372 h 438"/>
                <a:gd name="T96" fmla="*/ 126 w 648"/>
                <a:gd name="T97" fmla="*/ 372 h 438"/>
                <a:gd name="T98" fmla="*/ 108 w 648"/>
                <a:gd name="T99" fmla="*/ 396 h 438"/>
                <a:gd name="T100" fmla="*/ 84 w 648"/>
                <a:gd name="T101" fmla="*/ 414 h 438"/>
                <a:gd name="T102" fmla="*/ 48 w 648"/>
                <a:gd name="T103" fmla="*/ 372 h 438"/>
                <a:gd name="T104" fmla="*/ 30 w 648"/>
                <a:gd name="T105" fmla="*/ 336 h 438"/>
                <a:gd name="T106" fmla="*/ 12 w 648"/>
                <a:gd name="T107" fmla="*/ 306 h 438"/>
                <a:gd name="T108" fmla="*/ 12 w 648"/>
                <a:gd name="T109" fmla="*/ 270 h 438"/>
                <a:gd name="T110" fmla="*/ 0 w 648"/>
                <a:gd name="T111" fmla="*/ 246 h 438"/>
                <a:gd name="T112" fmla="*/ 30 w 648"/>
                <a:gd name="T113" fmla="*/ 216 h 438"/>
                <a:gd name="T114" fmla="*/ 48 w 648"/>
                <a:gd name="T115" fmla="*/ 180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438"/>
                <a:gd name="T176" fmla="*/ 648 w 648"/>
                <a:gd name="T177" fmla="*/ 438 h 43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5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2172" y="1779"/>
              <a:ext cx="505" cy="403"/>
            </a:xfrm>
            <a:custGeom>
              <a:avLst/>
              <a:gdLst>
                <a:gd name="T0" fmla="*/ 48 w 594"/>
                <a:gd name="T1" fmla="*/ 66 h 474"/>
                <a:gd name="T2" fmla="*/ 90 w 594"/>
                <a:gd name="T3" fmla="*/ 6 h 474"/>
                <a:gd name="T4" fmla="*/ 138 w 594"/>
                <a:gd name="T5" fmla="*/ 0 h 474"/>
                <a:gd name="T6" fmla="*/ 198 w 594"/>
                <a:gd name="T7" fmla="*/ 24 h 474"/>
                <a:gd name="T8" fmla="*/ 246 w 594"/>
                <a:gd name="T9" fmla="*/ 30 h 474"/>
                <a:gd name="T10" fmla="*/ 288 w 594"/>
                <a:gd name="T11" fmla="*/ 36 h 474"/>
                <a:gd name="T12" fmla="*/ 330 w 594"/>
                <a:gd name="T13" fmla="*/ 48 h 474"/>
                <a:gd name="T14" fmla="*/ 372 w 594"/>
                <a:gd name="T15" fmla="*/ 30 h 474"/>
                <a:gd name="T16" fmla="*/ 444 w 594"/>
                <a:gd name="T17" fmla="*/ 24 h 474"/>
                <a:gd name="T18" fmla="*/ 468 w 594"/>
                <a:gd name="T19" fmla="*/ 36 h 474"/>
                <a:gd name="T20" fmla="*/ 492 w 594"/>
                <a:gd name="T21" fmla="*/ 30 h 474"/>
                <a:gd name="T22" fmla="*/ 510 w 594"/>
                <a:gd name="T23" fmla="*/ 18 h 474"/>
                <a:gd name="T24" fmla="*/ 516 w 594"/>
                <a:gd name="T25" fmla="*/ 18 h 474"/>
                <a:gd name="T26" fmla="*/ 534 w 594"/>
                <a:gd name="T27" fmla="*/ 6 h 474"/>
                <a:gd name="T28" fmla="*/ 570 w 594"/>
                <a:gd name="T29" fmla="*/ 72 h 474"/>
                <a:gd name="T30" fmla="*/ 594 w 594"/>
                <a:gd name="T31" fmla="*/ 96 h 474"/>
                <a:gd name="T32" fmla="*/ 588 w 594"/>
                <a:gd name="T33" fmla="*/ 120 h 474"/>
                <a:gd name="T34" fmla="*/ 558 w 594"/>
                <a:gd name="T35" fmla="*/ 132 h 474"/>
                <a:gd name="T36" fmla="*/ 540 w 594"/>
                <a:gd name="T37" fmla="*/ 162 h 474"/>
                <a:gd name="T38" fmla="*/ 522 w 594"/>
                <a:gd name="T39" fmla="*/ 192 h 474"/>
                <a:gd name="T40" fmla="*/ 522 w 594"/>
                <a:gd name="T41" fmla="*/ 210 h 474"/>
                <a:gd name="T42" fmla="*/ 504 w 594"/>
                <a:gd name="T43" fmla="*/ 234 h 474"/>
                <a:gd name="T44" fmla="*/ 492 w 594"/>
                <a:gd name="T45" fmla="*/ 258 h 474"/>
                <a:gd name="T46" fmla="*/ 474 w 594"/>
                <a:gd name="T47" fmla="*/ 288 h 474"/>
                <a:gd name="T48" fmla="*/ 462 w 594"/>
                <a:gd name="T49" fmla="*/ 318 h 474"/>
                <a:gd name="T50" fmla="*/ 444 w 594"/>
                <a:gd name="T51" fmla="*/ 336 h 474"/>
                <a:gd name="T52" fmla="*/ 438 w 594"/>
                <a:gd name="T53" fmla="*/ 354 h 474"/>
                <a:gd name="T54" fmla="*/ 426 w 594"/>
                <a:gd name="T55" fmla="*/ 360 h 474"/>
                <a:gd name="T56" fmla="*/ 402 w 594"/>
                <a:gd name="T57" fmla="*/ 342 h 474"/>
                <a:gd name="T58" fmla="*/ 384 w 594"/>
                <a:gd name="T59" fmla="*/ 342 h 474"/>
                <a:gd name="T60" fmla="*/ 354 w 594"/>
                <a:gd name="T61" fmla="*/ 354 h 474"/>
                <a:gd name="T62" fmla="*/ 348 w 594"/>
                <a:gd name="T63" fmla="*/ 366 h 474"/>
                <a:gd name="T64" fmla="*/ 330 w 594"/>
                <a:gd name="T65" fmla="*/ 378 h 474"/>
                <a:gd name="T66" fmla="*/ 306 w 594"/>
                <a:gd name="T67" fmla="*/ 402 h 474"/>
                <a:gd name="T68" fmla="*/ 300 w 594"/>
                <a:gd name="T69" fmla="*/ 438 h 474"/>
                <a:gd name="T70" fmla="*/ 282 w 594"/>
                <a:gd name="T71" fmla="*/ 450 h 474"/>
                <a:gd name="T72" fmla="*/ 276 w 594"/>
                <a:gd name="T73" fmla="*/ 462 h 474"/>
                <a:gd name="T74" fmla="*/ 240 w 594"/>
                <a:gd name="T75" fmla="*/ 468 h 474"/>
                <a:gd name="T76" fmla="*/ 210 w 594"/>
                <a:gd name="T77" fmla="*/ 468 h 474"/>
                <a:gd name="T78" fmla="*/ 186 w 594"/>
                <a:gd name="T79" fmla="*/ 474 h 474"/>
                <a:gd name="T80" fmla="*/ 150 w 594"/>
                <a:gd name="T81" fmla="*/ 462 h 474"/>
                <a:gd name="T82" fmla="*/ 132 w 594"/>
                <a:gd name="T83" fmla="*/ 426 h 474"/>
                <a:gd name="T84" fmla="*/ 120 w 594"/>
                <a:gd name="T85" fmla="*/ 402 h 474"/>
                <a:gd name="T86" fmla="*/ 78 w 594"/>
                <a:gd name="T87" fmla="*/ 372 h 474"/>
                <a:gd name="T88" fmla="*/ 36 w 594"/>
                <a:gd name="T89" fmla="*/ 372 h 474"/>
                <a:gd name="T90" fmla="*/ 0 w 594"/>
                <a:gd name="T91" fmla="*/ 360 h 474"/>
                <a:gd name="T92" fmla="*/ 6 w 594"/>
                <a:gd name="T93" fmla="*/ 336 h 474"/>
                <a:gd name="T94" fmla="*/ 0 w 594"/>
                <a:gd name="T95" fmla="*/ 312 h 474"/>
                <a:gd name="T96" fmla="*/ 0 w 594"/>
                <a:gd name="T97" fmla="*/ 270 h 474"/>
                <a:gd name="T98" fmla="*/ 6 w 594"/>
                <a:gd name="T99" fmla="*/ 246 h 474"/>
                <a:gd name="T100" fmla="*/ 18 w 594"/>
                <a:gd name="T101" fmla="*/ 228 h 474"/>
                <a:gd name="T102" fmla="*/ 36 w 594"/>
                <a:gd name="T103" fmla="*/ 198 h 474"/>
                <a:gd name="T104" fmla="*/ 42 w 594"/>
                <a:gd name="T105" fmla="*/ 174 h 474"/>
                <a:gd name="T106" fmla="*/ 54 w 594"/>
                <a:gd name="T107" fmla="*/ 150 h 474"/>
                <a:gd name="T108" fmla="*/ 42 w 594"/>
                <a:gd name="T109" fmla="*/ 108 h 4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94"/>
                <a:gd name="T166" fmla="*/ 0 h 474"/>
                <a:gd name="T167" fmla="*/ 594 w 594"/>
                <a:gd name="T168" fmla="*/ 474 h 47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94" h="474">
                  <a:moveTo>
                    <a:pt x="42" y="108"/>
                  </a:move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2" y="18"/>
                  </a:lnTo>
                  <a:lnTo>
                    <a:pt x="90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50" y="0"/>
                  </a:lnTo>
                  <a:lnTo>
                    <a:pt x="168" y="6"/>
                  </a:lnTo>
                  <a:lnTo>
                    <a:pt x="174" y="12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12"/>
                  </a:lnTo>
                  <a:lnTo>
                    <a:pt x="198" y="24"/>
                  </a:lnTo>
                  <a:lnTo>
                    <a:pt x="204" y="36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36"/>
                  </a:lnTo>
                  <a:lnTo>
                    <a:pt x="234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64" y="24"/>
                  </a:lnTo>
                  <a:lnTo>
                    <a:pt x="270" y="30"/>
                  </a:lnTo>
                  <a:lnTo>
                    <a:pt x="276" y="30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84" y="30"/>
                  </a:lnTo>
                  <a:lnTo>
                    <a:pt x="396" y="24"/>
                  </a:lnTo>
                  <a:lnTo>
                    <a:pt x="414" y="24"/>
                  </a:lnTo>
                  <a:lnTo>
                    <a:pt x="420" y="24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2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498" y="24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510" y="18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22" y="18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8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46" y="12"/>
                  </a:lnTo>
                  <a:lnTo>
                    <a:pt x="558" y="24"/>
                  </a:lnTo>
                  <a:lnTo>
                    <a:pt x="564" y="36"/>
                  </a:lnTo>
                  <a:lnTo>
                    <a:pt x="570" y="66"/>
                  </a:lnTo>
                  <a:lnTo>
                    <a:pt x="570" y="72"/>
                  </a:lnTo>
                  <a:lnTo>
                    <a:pt x="576" y="72"/>
                  </a:lnTo>
                  <a:lnTo>
                    <a:pt x="582" y="72"/>
                  </a:lnTo>
                  <a:lnTo>
                    <a:pt x="588" y="72"/>
                  </a:lnTo>
                  <a:lnTo>
                    <a:pt x="588" y="78"/>
                  </a:lnTo>
                  <a:lnTo>
                    <a:pt x="594" y="84"/>
                  </a:lnTo>
                  <a:lnTo>
                    <a:pt x="594" y="90"/>
                  </a:lnTo>
                  <a:lnTo>
                    <a:pt x="594" y="96"/>
                  </a:lnTo>
                  <a:lnTo>
                    <a:pt x="594" y="102"/>
                  </a:lnTo>
                  <a:lnTo>
                    <a:pt x="588" y="102"/>
                  </a:lnTo>
                  <a:lnTo>
                    <a:pt x="588" y="108"/>
                  </a:lnTo>
                  <a:lnTo>
                    <a:pt x="594" y="108"/>
                  </a:lnTo>
                  <a:lnTo>
                    <a:pt x="594" y="114"/>
                  </a:lnTo>
                  <a:lnTo>
                    <a:pt x="588" y="114"/>
                  </a:lnTo>
                  <a:lnTo>
                    <a:pt x="588" y="120"/>
                  </a:lnTo>
                  <a:lnTo>
                    <a:pt x="582" y="120"/>
                  </a:lnTo>
                  <a:lnTo>
                    <a:pt x="576" y="120"/>
                  </a:lnTo>
                  <a:lnTo>
                    <a:pt x="576" y="126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26"/>
                  </a:lnTo>
                  <a:lnTo>
                    <a:pt x="558" y="132"/>
                  </a:lnTo>
                  <a:lnTo>
                    <a:pt x="552" y="132"/>
                  </a:lnTo>
                  <a:lnTo>
                    <a:pt x="552" y="138"/>
                  </a:lnTo>
                  <a:lnTo>
                    <a:pt x="546" y="144"/>
                  </a:lnTo>
                  <a:lnTo>
                    <a:pt x="546" y="150"/>
                  </a:lnTo>
                  <a:lnTo>
                    <a:pt x="540" y="150"/>
                  </a:lnTo>
                  <a:lnTo>
                    <a:pt x="540" y="156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28" y="192"/>
                  </a:lnTo>
                  <a:lnTo>
                    <a:pt x="522" y="192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28" y="204"/>
                  </a:lnTo>
                  <a:lnTo>
                    <a:pt x="522" y="204"/>
                  </a:lnTo>
                  <a:lnTo>
                    <a:pt x="522" y="210"/>
                  </a:lnTo>
                  <a:lnTo>
                    <a:pt x="522" y="216"/>
                  </a:lnTo>
                  <a:lnTo>
                    <a:pt x="516" y="216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04" y="240"/>
                  </a:lnTo>
                  <a:lnTo>
                    <a:pt x="504" y="246"/>
                  </a:lnTo>
                  <a:lnTo>
                    <a:pt x="498" y="246"/>
                  </a:lnTo>
                  <a:lnTo>
                    <a:pt x="504" y="252"/>
                  </a:lnTo>
                  <a:lnTo>
                    <a:pt x="498" y="252"/>
                  </a:lnTo>
                  <a:lnTo>
                    <a:pt x="498" y="258"/>
                  </a:lnTo>
                  <a:lnTo>
                    <a:pt x="492" y="258"/>
                  </a:lnTo>
                  <a:lnTo>
                    <a:pt x="486" y="258"/>
                  </a:lnTo>
                  <a:lnTo>
                    <a:pt x="486" y="264"/>
                  </a:lnTo>
                  <a:lnTo>
                    <a:pt x="480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74" y="294"/>
                  </a:lnTo>
                  <a:lnTo>
                    <a:pt x="468" y="294"/>
                  </a:lnTo>
                  <a:lnTo>
                    <a:pt x="468" y="300"/>
                  </a:lnTo>
                  <a:lnTo>
                    <a:pt x="462" y="300"/>
                  </a:lnTo>
                  <a:lnTo>
                    <a:pt x="462" y="306"/>
                  </a:lnTo>
                  <a:lnTo>
                    <a:pt x="462" y="312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30"/>
                  </a:lnTo>
                  <a:lnTo>
                    <a:pt x="456" y="336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44" y="342"/>
                  </a:lnTo>
                  <a:lnTo>
                    <a:pt x="438" y="342"/>
                  </a:lnTo>
                  <a:lnTo>
                    <a:pt x="438" y="348"/>
                  </a:lnTo>
                  <a:lnTo>
                    <a:pt x="444" y="348"/>
                  </a:lnTo>
                  <a:lnTo>
                    <a:pt x="438" y="348"/>
                  </a:lnTo>
                  <a:lnTo>
                    <a:pt x="444" y="354"/>
                  </a:lnTo>
                  <a:lnTo>
                    <a:pt x="438" y="354"/>
                  </a:lnTo>
                  <a:lnTo>
                    <a:pt x="438" y="360"/>
                  </a:lnTo>
                  <a:lnTo>
                    <a:pt x="432" y="360"/>
                  </a:lnTo>
                  <a:lnTo>
                    <a:pt x="432" y="366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20" y="354"/>
                  </a:lnTo>
                  <a:lnTo>
                    <a:pt x="414" y="354"/>
                  </a:lnTo>
                  <a:lnTo>
                    <a:pt x="408" y="354"/>
                  </a:lnTo>
                  <a:lnTo>
                    <a:pt x="408" y="348"/>
                  </a:lnTo>
                  <a:lnTo>
                    <a:pt x="402" y="348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36"/>
                  </a:lnTo>
                  <a:lnTo>
                    <a:pt x="390" y="336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42"/>
                  </a:lnTo>
                  <a:lnTo>
                    <a:pt x="360" y="342"/>
                  </a:lnTo>
                  <a:lnTo>
                    <a:pt x="360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24" y="384"/>
                  </a:lnTo>
                  <a:lnTo>
                    <a:pt x="318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26"/>
                  </a:lnTo>
                  <a:lnTo>
                    <a:pt x="306" y="432"/>
                  </a:lnTo>
                  <a:lnTo>
                    <a:pt x="300" y="432"/>
                  </a:lnTo>
                  <a:lnTo>
                    <a:pt x="300" y="438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64" y="462"/>
                  </a:lnTo>
                  <a:lnTo>
                    <a:pt x="258" y="462"/>
                  </a:lnTo>
                  <a:lnTo>
                    <a:pt x="252" y="462"/>
                  </a:lnTo>
                  <a:lnTo>
                    <a:pt x="246" y="462"/>
                  </a:lnTo>
                  <a:lnTo>
                    <a:pt x="240" y="462"/>
                  </a:lnTo>
                  <a:lnTo>
                    <a:pt x="240" y="468"/>
                  </a:lnTo>
                  <a:lnTo>
                    <a:pt x="234" y="468"/>
                  </a:lnTo>
                  <a:lnTo>
                    <a:pt x="228" y="468"/>
                  </a:lnTo>
                  <a:lnTo>
                    <a:pt x="222" y="468"/>
                  </a:lnTo>
                  <a:lnTo>
                    <a:pt x="222" y="462"/>
                  </a:lnTo>
                  <a:lnTo>
                    <a:pt x="222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04" y="468"/>
                  </a:lnTo>
                  <a:lnTo>
                    <a:pt x="204" y="474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56"/>
                  </a:lnTo>
                  <a:lnTo>
                    <a:pt x="144" y="450"/>
                  </a:lnTo>
                  <a:lnTo>
                    <a:pt x="138" y="450"/>
                  </a:lnTo>
                  <a:lnTo>
                    <a:pt x="138" y="444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32" y="426"/>
                  </a:lnTo>
                  <a:lnTo>
                    <a:pt x="132" y="420"/>
                  </a:lnTo>
                  <a:lnTo>
                    <a:pt x="126" y="420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6" y="414"/>
                  </a:lnTo>
                  <a:lnTo>
                    <a:pt x="120" y="408"/>
                  </a:lnTo>
                  <a:lnTo>
                    <a:pt x="120" y="402"/>
                  </a:lnTo>
                  <a:lnTo>
                    <a:pt x="114" y="402"/>
                  </a:lnTo>
                  <a:lnTo>
                    <a:pt x="114" y="396"/>
                  </a:lnTo>
                  <a:lnTo>
                    <a:pt x="108" y="390"/>
                  </a:lnTo>
                  <a:lnTo>
                    <a:pt x="102" y="384"/>
                  </a:lnTo>
                  <a:lnTo>
                    <a:pt x="90" y="372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12" y="372"/>
                  </a:lnTo>
                  <a:lnTo>
                    <a:pt x="6" y="372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0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6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2" y="114"/>
                  </a:lnTo>
                  <a:lnTo>
                    <a:pt x="42" y="1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6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2427" y="2264"/>
              <a:ext cx="245" cy="270"/>
            </a:xfrm>
            <a:custGeom>
              <a:avLst/>
              <a:gdLst>
                <a:gd name="T0" fmla="*/ 48 w 288"/>
                <a:gd name="T1" fmla="*/ 108 h 318"/>
                <a:gd name="T2" fmla="*/ 54 w 288"/>
                <a:gd name="T3" fmla="*/ 108 h 318"/>
                <a:gd name="T4" fmla="*/ 42 w 288"/>
                <a:gd name="T5" fmla="*/ 102 h 318"/>
                <a:gd name="T6" fmla="*/ 36 w 288"/>
                <a:gd name="T7" fmla="*/ 84 h 318"/>
                <a:gd name="T8" fmla="*/ 42 w 288"/>
                <a:gd name="T9" fmla="*/ 72 h 318"/>
                <a:gd name="T10" fmla="*/ 60 w 288"/>
                <a:gd name="T11" fmla="*/ 66 h 318"/>
                <a:gd name="T12" fmla="*/ 132 w 288"/>
                <a:gd name="T13" fmla="*/ 12 h 318"/>
                <a:gd name="T14" fmla="*/ 138 w 288"/>
                <a:gd name="T15" fmla="*/ 0 h 318"/>
                <a:gd name="T16" fmla="*/ 144 w 288"/>
                <a:gd name="T17" fmla="*/ 6 h 318"/>
                <a:gd name="T18" fmla="*/ 162 w 288"/>
                <a:gd name="T19" fmla="*/ 6 h 318"/>
                <a:gd name="T20" fmla="*/ 192 w 288"/>
                <a:gd name="T21" fmla="*/ 6 h 318"/>
                <a:gd name="T22" fmla="*/ 222 w 288"/>
                <a:gd name="T23" fmla="*/ 6 h 318"/>
                <a:gd name="T24" fmla="*/ 222 w 288"/>
                <a:gd name="T25" fmla="*/ 24 h 318"/>
                <a:gd name="T26" fmla="*/ 222 w 288"/>
                <a:gd name="T27" fmla="*/ 42 h 318"/>
                <a:gd name="T28" fmla="*/ 240 w 288"/>
                <a:gd name="T29" fmla="*/ 54 h 318"/>
                <a:gd name="T30" fmla="*/ 252 w 288"/>
                <a:gd name="T31" fmla="*/ 48 h 318"/>
                <a:gd name="T32" fmla="*/ 276 w 288"/>
                <a:gd name="T33" fmla="*/ 54 h 318"/>
                <a:gd name="T34" fmla="*/ 282 w 288"/>
                <a:gd name="T35" fmla="*/ 72 h 318"/>
                <a:gd name="T36" fmla="*/ 270 w 288"/>
                <a:gd name="T37" fmla="*/ 90 h 318"/>
                <a:gd name="T38" fmla="*/ 258 w 288"/>
                <a:gd name="T39" fmla="*/ 108 h 318"/>
                <a:gd name="T40" fmla="*/ 258 w 288"/>
                <a:gd name="T41" fmla="*/ 126 h 318"/>
                <a:gd name="T42" fmla="*/ 282 w 288"/>
                <a:gd name="T43" fmla="*/ 138 h 318"/>
                <a:gd name="T44" fmla="*/ 282 w 288"/>
                <a:gd name="T45" fmla="*/ 168 h 318"/>
                <a:gd name="T46" fmla="*/ 288 w 288"/>
                <a:gd name="T47" fmla="*/ 192 h 318"/>
                <a:gd name="T48" fmla="*/ 276 w 288"/>
                <a:gd name="T49" fmla="*/ 216 h 318"/>
                <a:gd name="T50" fmla="*/ 264 w 288"/>
                <a:gd name="T51" fmla="*/ 240 h 318"/>
                <a:gd name="T52" fmla="*/ 252 w 288"/>
                <a:gd name="T53" fmla="*/ 228 h 318"/>
                <a:gd name="T54" fmla="*/ 234 w 288"/>
                <a:gd name="T55" fmla="*/ 240 h 318"/>
                <a:gd name="T56" fmla="*/ 210 w 288"/>
                <a:gd name="T57" fmla="*/ 234 h 318"/>
                <a:gd name="T58" fmla="*/ 204 w 288"/>
                <a:gd name="T59" fmla="*/ 216 h 318"/>
                <a:gd name="T60" fmla="*/ 186 w 288"/>
                <a:gd name="T61" fmla="*/ 222 h 318"/>
                <a:gd name="T62" fmla="*/ 162 w 288"/>
                <a:gd name="T63" fmla="*/ 234 h 318"/>
                <a:gd name="T64" fmla="*/ 144 w 288"/>
                <a:gd name="T65" fmla="*/ 240 h 318"/>
                <a:gd name="T66" fmla="*/ 150 w 288"/>
                <a:gd name="T67" fmla="*/ 258 h 318"/>
                <a:gd name="T68" fmla="*/ 162 w 288"/>
                <a:gd name="T69" fmla="*/ 276 h 318"/>
                <a:gd name="T70" fmla="*/ 156 w 288"/>
                <a:gd name="T71" fmla="*/ 294 h 318"/>
                <a:gd name="T72" fmla="*/ 144 w 288"/>
                <a:gd name="T73" fmla="*/ 300 h 318"/>
                <a:gd name="T74" fmla="*/ 126 w 288"/>
                <a:gd name="T75" fmla="*/ 306 h 318"/>
                <a:gd name="T76" fmla="*/ 114 w 288"/>
                <a:gd name="T77" fmla="*/ 312 h 318"/>
                <a:gd name="T78" fmla="*/ 108 w 288"/>
                <a:gd name="T79" fmla="*/ 294 h 318"/>
                <a:gd name="T80" fmla="*/ 90 w 288"/>
                <a:gd name="T81" fmla="*/ 276 h 318"/>
                <a:gd name="T82" fmla="*/ 72 w 288"/>
                <a:gd name="T83" fmla="*/ 258 h 318"/>
                <a:gd name="T84" fmla="*/ 60 w 288"/>
                <a:gd name="T85" fmla="*/ 252 h 318"/>
                <a:gd name="T86" fmla="*/ 42 w 288"/>
                <a:gd name="T87" fmla="*/ 240 h 318"/>
                <a:gd name="T88" fmla="*/ 30 w 288"/>
                <a:gd name="T89" fmla="*/ 216 h 318"/>
                <a:gd name="T90" fmla="*/ 24 w 288"/>
                <a:gd name="T91" fmla="*/ 192 h 318"/>
                <a:gd name="T92" fmla="*/ 12 w 288"/>
                <a:gd name="T93" fmla="*/ 174 h 318"/>
                <a:gd name="T94" fmla="*/ 6 w 288"/>
                <a:gd name="T95" fmla="*/ 168 h 318"/>
                <a:gd name="T96" fmla="*/ 0 w 288"/>
                <a:gd name="T97" fmla="*/ 156 h 318"/>
                <a:gd name="T98" fmla="*/ 18 w 288"/>
                <a:gd name="T99" fmla="*/ 156 h 318"/>
                <a:gd name="T100" fmla="*/ 24 w 288"/>
                <a:gd name="T101" fmla="*/ 144 h 318"/>
                <a:gd name="T102" fmla="*/ 30 w 288"/>
                <a:gd name="T103" fmla="*/ 120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8"/>
                <a:gd name="T157" fmla="*/ 0 h 318"/>
                <a:gd name="T158" fmla="*/ 288 w 288"/>
                <a:gd name="T159" fmla="*/ 318 h 3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7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2529" y="2208"/>
              <a:ext cx="316" cy="367"/>
            </a:xfrm>
            <a:custGeom>
              <a:avLst/>
              <a:gdLst>
                <a:gd name="T0" fmla="*/ 12 w 372"/>
                <a:gd name="T1" fmla="*/ 360 h 432"/>
                <a:gd name="T2" fmla="*/ 36 w 372"/>
                <a:gd name="T3" fmla="*/ 366 h 432"/>
                <a:gd name="T4" fmla="*/ 36 w 372"/>
                <a:gd name="T5" fmla="*/ 342 h 432"/>
                <a:gd name="T6" fmla="*/ 30 w 372"/>
                <a:gd name="T7" fmla="*/ 324 h 432"/>
                <a:gd name="T8" fmla="*/ 24 w 372"/>
                <a:gd name="T9" fmla="*/ 300 h 432"/>
                <a:gd name="T10" fmla="*/ 66 w 372"/>
                <a:gd name="T11" fmla="*/ 306 h 432"/>
                <a:gd name="T12" fmla="*/ 72 w 372"/>
                <a:gd name="T13" fmla="*/ 276 h 432"/>
                <a:gd name="T14" fmla="*/ 96 w 372"/>
                <a:gd name="T15" fmla="*/ 294 h 432"/>
                <a:gd name="T16" fmla="*/ 114 w 372"/>
                <a:gd name="T17" fmla="*/ 306 h 432"/>
                <a:gd name="T18" fmla="*/ 138 w 372"/>
                <a:gd name="T19" fmla="*/ 294 h 432"/>
                <a:gd name="T20" fmla="*/ 150 w 372"/>
                <a:gd name="T21" fmla="*/ 294 h 432"/>
                <a:gd name="T22" fmla="*/ 162 w 372"/>
                <a:gd name="T23" fmla="*/ 264 h 432"/>
                <a:gd name="T24" fmla="*/ 168 w 372"/>
                <a:gd name="T25" fmla="*/ 246 h 432"/>
                <a:gd name="T26" fmla="*/ 162 w 372"/>
                <a:gd name="T27" fmla="*/ 204 h 432"/>
                <a:gd name="T28" fmla="*/ 138 w 372"/>
                <a:gd name="T29" fmla="*/ 198 h 432"/>
                <a:gd name="T30" fmla="*/ 138 w 372"/>
                <a:gd name="T31" fmla="*/ 162 h 432"/>
                <a:gd name="T32" fmla="*/ 162 w 372"/>
                <a:gd name="T33" fmla="*/ 144 h 432"/>
                <a:gd name="T34" fmla="*/ 156 w 372"/>
                <a:gd name="T35" fmla="*/ 126 h 432"/>
                <a:gd name="T36" fmla="*/ 132 w 372"/>
                <a:gd name="T37" fmla="*/ 114 h 432"/>
                <a:gd name="T38" fmla="*/ 114 w 372"/>
                <a:gd name="T39" fmla="*/ 120 h 432"/>
                <a:gd name="T40" fmla="*/ 96 w 372"/>
                <a:gd name="T41" fmla="*/ 102 h 432"/>
                <a:gd name="T42" fmla="*/ 108 w 372"/>
                <a:gd name="T43" fmla="*/ 78 h 432"/>
                <a:gd name="T44" fmla="*/ 174 w 372"/>
                <a:gd name="T45" fmla="*/ 72 h 432"/>
                <a:gd name="T46" fmla="*/ 186 w 372"/>
                <a:gd name="T47" fmla="*/ 84 h 432"/>
                <a:gd name="T48" fmla="*/ 210 w 372"/>
                <a:gd name="T49" fmla="*/ 90 h 432"/>
                <a:gd name="T50" fmla="*/ 234 w 372"/>
                <a:gd name="T51" fmla="*/ 90 h 432"/>
                <a:gd name="T52" fmla="*/ 246 w 372"/>
                <a:gd name="T53" fmla="*/ 90 h 432"/>
                <a:gd name="T54" fmla="*/ 252 w 372"/>
                <a:gd name="T55" fmla="*/ 72 h 432"/>
                <a:gd name="T56" fmla="*/ 270 w 372"/>
                <a:gd name="T57" fmla="*/ 24 h 432"/>
                <a:gd name="T58" fmla="*/ 294 w 372"/>
                <a:gd name="T59" fmla="*/ 6 h 432"/>
                <a:gd name="T60" fmla="*/ 330 w 372"/>
                <a:gd name="T61" fmla="*/ 0 h 432"/>
                <a:gd name="T62" fmla="*/ 354 w 372"/>
                <a:gd name="T63" fmla="*/ 12 h 432"/>
                <a:gd name="T64" fmla="*/ 372 w 372"/>
                <a:gd name="T65" fmla="*/ 18 h 432"/>
                <a:gd name="T66" fmla="*/ 360 w 372"/>
                <a:gd name="T67" fmla="*/ 42 h 432"/>
                <a:gd name="T68" fmla="*/ 342 w 372"/>
                <a:gd name="T69" fmla="*/ 72 h 432"/>
                <a:gd name="T70" fmla="*/ 342 w 372"/>
                <a:gd name="T71" fmla="*/ 108 h 432"/>
                <a:gd name="T72" fmla="*/ 330 w 372"/>
                <a:gd name="T73" fmla="*/ 132 h 432"/>
                <a:gd name="T74" fmla="*/ 336 w 372"/>
                <a:gd name="T75" fmla="*/ 168 h 432"/>
                <a:gd name="T76" fmla="*/ 324 w 372"/>
                <a:gd name="T77" fmla="*/ 192 h 432"/>
                <a:gd name="T78" fmla="*/ 318 w 372"/>
                <a:gd name="T79" fmla="*/ 222 h 432"/>
                <a:gd name="T80" fmla="*/ 288 w 372"/>
                <a:gd name="T81" fmla="*/ 240 h 432"/>
                <a:gd name="T82" fmla="*/ 270 w 372"/>
                <a:gd name="T83" fmla="*/ 276 h 432"/>
                <a:gd name="T84" fmla="*/ 252 w 372"/>
                <a:gd name="T85" fmla="*/ 300 h 432"/>
                <a:gd name="T86" fmla="*/ 252 w 372"/>
                <a:gd name="T87" fmla="*/ 336 h 432"/>
                <a:gd name="T88" fmla="*/ 240 w 372"/>
                <a:gd name="T89" fmla="*/ 372 h 432"/>
                <a:gd name="T90" fmla="*/ 216 w 372"/>
                <a:gd name="T91" fmla="*/ 390 h 432"/>
                <a:gd name="T92" fmla="*/ 192 w 372"/>
                <a:gd name="T93" fmla="*/ 408 h 432"/>
                <a:gd name="T94" fmla="*/ 174 w 372"/>
                <a:gd name="T95" fmla="*/ 426 h 432"/>
                <a:gd name="T96" fmla="*/ 156 w 372"/>
                <a:gd name="T97" fmla="*/ 408 h 432"/>
                <a:gd name="T98" fmla="*/ 156 w 372"/>
                <a:gd name="T99" fmla="*/ 396 h 432"/>
                <a:gd name="T100" fmla="*/ 132 w 372"/>
                <a:gd name="T101" fmla="*/ 408 h 432"/>
                <a:gd name="T102" fmla="*/ 120 w 372"/>
                <a:gd name="T103" fmla="*/ 420 h 432"/>
                <a:gd name="T104" fmla="*/ 96 w 372"/>
                <a:gd name="T105" fmla="*/ 414 h 432"/>
                <a:gd name="T106" fmla="*/ 78 w 372"/>
                <a:gd name="T107" fmla="*/ 408 h 432"/>
                <a:gd name="T108" fmla="*/ 48 w 372"/>
                <a:gd name="T109" fmla="*/ 426 h 432"/>
                <a:gd name="T110" fmla="*/ 30 w 372"/>
                <a:gd name="T111" fmla="*/ 414 h 432"/>
                <a:gd name="T112" fmla="*/ 12 w 372"/>
                <a:gd name="T113" fmla="*/ 396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2"/>
                <a:gd name="T172" fmla="*/ 0 h 432"/>
                <a:gd name="T173" fmla="*/ 372 w 372"/>
                <a:gd name="T174" fmla="*/ 432 h 4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8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2453" y="2264"/>
              <a:ext cx="81" cy="61"/>
            </a:xfrm>
            <a:custGeom>
              <a:avLst/>
              <a:gdLst>
                <a:gd name="T0" fmla="*/ 24 w 96"/>
                <a:gd name="T1" fmla="*/ 0 h 72"/>
                <a:gd name="T2" fmla="*/ 24 w 96"/>
                <a:gd name="T3" fmla="*/ 6 h 72"/>
                <a:gd name="T4" fmla="*/ 30 w 96"/>
                <a:gd name="T5" fmla="*/ 6 h 72"/>
                <a:gd name="T6" fmla="*/ 30 w 96"/>
                <a:gd name="T7" fmla="*/ 12 h 72"/>
                <a:gd name="T8" fmla="*/ 36 w 96"/>
                <a:gd name="T9" fmla="*/ 12 h 72"/>
                <a:gd name="T10" fmla="*/ 36 w 96"/>
                <a:gd name="T11" fmla="*/ 6 h 72"/>
                <a:gd name="T12" fmla="*/ 36 w 96"/>
                <a:gd name="T13" fmla="*/ 12 h 72"/>
                <a:gd name="T14" fmla="*/ 42 w 96"/>
                <a:gd name="T15" fmla="*/ 12 h 72"/>
                <a:gd name="T16" fmla="*/ 90 w 96"/>
                <a:gd name="T17" fmla="*/ 12 h 72"/>
                <a:gd name="T18" fmla="*/ 90 w 96"/>
                <a:gd name="T19" fmla="*/ 6 h 72"/>
                <a:gd name="T20" fmla="*/ 96 w 96"/>
                <a:gd name="T21" fmla="*/ 12 h 72"/>
                <a:gd name="T22" fmla="*/ 96 w 96"/>
                <a:gd name="T23" fmla="*/ 66 h 72"/>
                <a:gd name="T24" fmla="*/ 90 w 96"/>
                <a:gd name="T25" fmla="*/ 66 h 72"/>
                <a:gd name="T26" fmla="*/ 84 w 96"/>
                <a:gd name="T27" fmla="*/ 66 h 72"/>
                <a:gd name="T28" fmla="*/ 30 w 96"/>
                <a:gd name="T29" fmla="*/ 66 h 72"/>
                <a:gd name="T30" fmla="*/ 30 w 96"/>
                <a:gd name="T31" fmla="*/ 72 h 72"/>
                <a:gd name="T32" fmla="*/ 24 w 96"/>
                <a:gd name="T33" fmla="*/ 66 h 72"/>
                <a:gd name="T34" fmla="*/ 18 w 96"/>
                <a:gd name="T35" fmla="*/ 66 h 72"/>
                <a:gd name="T36" fmla="*/ 12 w 96"/>
                <a:gd name="T37" fmla="*/ 66 h 72"/>
                <a:gd name="T38" fmla="*/ 12 w 96"/>
                <a:gd name="T39" fmla="*/ 60 h 72"/>
                <a:gd name="T40" fmla="*/ 6 w 96"/>
                <a:gd name="T41" fmla="*/ 60 h 72"/>
                <a:gd name="T42" fmla="*/ 0 w 96"/>
                <a:gd name="T43" fmla="*/ 60 h 72"/>
                <a:gd name="T44" fmla="*/ 0 w 96"/>
                <a:gd name="T45" fmla="*/ 54 h 72"/>
                <a:gd name="T46" fmla="*/ 6 w 96"/>
                <a:gd name="T47" fmla="*/ 54 h 72"/>
                <a:gd name="T48" fmla="*/ 6 w 96"/>
                <a:gd name="T49" fmla="*/ 48 h 72"/>
                <a:gd name="T50" fmla="*/ 12 w 96"/>
                <a:gd name="T51" fmla="*/ 42 h 72"/>
                <a:gd name="T52" fmla="*/ 12 w 96"/>
                <a:gd name="T53" fmla="*/ 48 h 72"/>
                <a:gd name="T54" fmla="*/ 12 w 96"/>
                <a:gd name="T55" fmla="*/ 42 h 72"/>
                <a:gd name="T56" fmla="*/ 12 w 96"/>
                <a:gd name="T57" fmla="*/ 36 h 72"/>
                <a:gd name="T58" fmla="*/ 18 w 96"/>
                <a:gd name="T59" fmla="*/ 30 h 72"/>
                <a:gd name="T60" fmla="*/ 18 w 96"/>
                <a:gd name="T61" fmla="*/ 24 h 72"/>
                <a:gd name="T62" fmla="*/ 24 w 96"/>
                <a:gd name="T63" fmla="*/ 24 h 72"/>
                <a:gd name="T64" fmla="*/ 18 w 96"/>
                <a:gd name="T65" fmla="*/ 12 h 72"/>
                <a:gd name="T66" fmla="*/ 24 w 96"/>
                <a:gd name="T67" fmla="*/ 12 h 72"/>
                <a:gd name="T68" fmla="*/ 24 w 96"/>
                <a:gd name="T69" fmla="*/ 6 h 72"/>
                <a:gd name="T70" fmla="*/ 24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6"/>
                <a:gd name="T109" fmla="*/ 0 h 72"/>
                <a:gd name="T110" fmla="*/ 96 w 96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9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346" y="1779"/>
              <a:ext cx="128" cy="31"/>
            </a:xfrm>
            <a:custGeom>
              <a:avLst/>
              <a:gdLst>
                <a:gd name="T0" fmla="*/ 54 w 150"/>
                <a:gd name="T1" fmla="*/ 12 h 36"/>
                <a:gd name="T2" fmla="*/ 72 w 150"/>
                <a:gd name="T3" fmla="*/ 6 h 36"/>
                <a:gd name="T4" fmla="*/ 78 w 150"/>
                <a:gd name="T5" fmla="*/ 0 h 36"/>
                <a:gd name="T6" fmla="*/ 84 w 150"/>
                <a:gd name="T7" fmla="*/ 6 h 36"/>
                <a:gd name="T8" fmla="*/ 90 w 150"/>
                <a:gd name="T9" fmla="*/ 0 h 36"/>
                <a:gd name="T10" fmla="*/ 102 w 150"/>
                <a:gd name="T11" fmla="*/ 6 h 36"/>
                <a:gd name="T12" fmla="*/ 108 w 150"/>
                <a:gd name="T13" fmla="*/ 12 h 36"/>
                <a:gd name="T14" fmla="*/ 120 w 150"/>
                <a:gd name="T15" fmla="*/ 12 h 36"/>
                <a:gd name="T16" fmla="*/ 126 w 150"/>
                <a:gd name="T17" fmla="*/ 18 h 36"/>
                <a:gd name="T18" fmla="*/ 138 w 150"/>
                <a:gd name="T19" fmla="*/ 12 h 36"/>
                <a:gd name="T20" fmla="*/ 150 w 150"/>
                <a:gd name="T21" fmla="*/ 18 h 36"/>
                <a:gd name="T22" fmla="*/ 144 w 150"/>
                <a:gd name="T23" fmla="*/ 24 h 36"/>
                <a:gd name="T24" fmla="*/ 138 w 150"/>
                <a:gd name="T25" fmla="*/ 30 h 36"/>
                <a:gd name="T26" fmla="*/ 126 w 150"/>
                <a:gd name="T27" fmla="*/ 30 h 36"/>
                <a:gd name="T28" fmla="*/ 120 w 150"/>
                <a:gd name="T29" fmla="*/ 24 h 36"/>
                <a:gd name="T30" fmla="*/ 108 w 150"/>
                <a:gd name="T31" fmla="*/ 24 h 36"/>
                <a:gd name="T32" fmla="*/ 102 w 150"/>
                <a:gd name="T33" fmla="*/ 18 h 36"/>
                <a:gd name="T34" fmla="*/ 90 w 150"/>
                <a:gd name="T35" fmla="*/ 18 h 36"/>
                <a:gd name="T36" fmla="*/ 84 w 150"/>
                <a:gd name="T37" fmla="*/ 12 h 36"/>
                <a:gd name="T38" fmla="*/ 84 w 150"/>
                <a:gd name="T39" fmla="*/ 24 h 36"/>
                <a:gd name="T40" fmla="*/ 72 w 150"/>
                <a:gd name="T41" fmla="*/ 24 h 36"/>
                <a:gd name="T42" fmla="*/ 60 w 150"/>
                <a:gd name="T43" fmla="*/ 24 h 36"/>
                <a:gd name="T44" fmla="*/ 54 w 150"/>
                <a:gd name="T45" fmla="*/ 36 h 36"/>
                <a:gd name="T46" fmla="*/ 24 w 150"/>
                <a:gd name="T47" fmla="*/ 36 h 36"/>
                <a:gd name="T48" fmla="*/ 6 w 150"/>
                <a:gd name="T49" fmla="*/ 30 h 36"/>
                <a:gd name="T50" fmla="*/ 0 w 150"/>
                <a:gd name="T51" fmla="*/ 24 h 36"/>
                <a:gd name="T52" fmla="*/ 6 w 150"/>
                <a:gd name="T53" fmla="*/ 18 h 36"/>
                <a:gd name="T54" fmla="*/ 12 w 150"/>
                <a:gd name="T55" fmla="*/ 24 h 36"/>
                <a:gd name="T56" fmla="*/ 24 w 150"/>
                <a:gd name="T57" fmla="*/ 30 h 36"/>
                <a:gd name="T58" fmla="*/ 36 w 150"/>
                <a:gd name="T59" fmla="*/ 24 h 36"/>
                <a:gd name="T60" fmla="*/ 36 w 150"/>
                <a:gd name="T61" fmla="*/ 24 h 36"/>
                <a:gd name="T62" fmla="*/ 42 w 150"/>
                <a:gd name="T63" fmla="*/ 18 h 36"/>
                <a:gd name="T64" fmla="*/ 42 w 150"/>
                <a:gd name="T65" fmla="*/ 18 h 36"/>
                <a:gd name="T66" fmla="*/ 54 w 150"/>
                <a:gd name="T67" fmla="*/ 18 h 36"/>
                <a:gd name="T68" fmla="*/ 66 w 150"/>
                <a:gd name="T69" fmla="*/ 18 h 36"/>
                <a:gd name="T70" fmla="*/ 54 w 150"/>
                <a:gd name="T71" fmla="*/ 18 h 36"/>
                <a:gd name="T72" fmla="*/ 42 w 150"/>
                <a:gd name="T73" fmla="*/ 18 h 36"/>
                <a:gd name="T74" fmla="*/ 30 w 150"/>
                <a:gd name="T75" fmla="*/ 24 h 36"/>
                <a:gd name="T76" fmla="*/ 18 w 150"/>
                <a:gd name="T77" fmla="*/ 24 h 36"/>
                <a:gd name="T78" fmla="*/ 18 w 150"/>
                <a:gd name="T79" fmla="*/ 12 h 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36"/>
                <a:gd name="T122" fmla="*/ 150 w 150"/>
                <a:gd name="T123" fmla="*/ 36 h 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36">
                  <a:moveTo>
                    <a:pt x="18" y="12"/>
                  </a:moveTo>
                  <a:lnTo>
                    <a:pt x="54" y="12"/>
                  </a:lnTo>
                  <a:lnTo>
                    <a:pt x="66" y="12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6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30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351" y="1830"/>
              <a:ext cx="133" cy="72"/>
            </a:xfrm>
            <a:custGeom>
              <a:avLst/>
              <a:gdLst>
                <a:gd name="T0" fmla="*/ 12 w 156"/>
                <a:gd name="T1" fmla="*/ 12 h 84"/>
                <a:gd name="T2" fmla="*/ 30 w 156"/>
                <a:gd name="T3" fmla="*/ 6 h 84"/>
                <a:gd name="T4" fmla="*/ 54 w 156"/>
                <a:gd name="T5" fmla="*/ 12 h 84"/>
                <a:gd name="T6" fmla="*/ 72 w 156"/>
                <a:gd name="T7" fmla="*/ 0 h 84"/>
                <a:gd name="T8" fmla="*/ 96 w 156"/>
                <a:gd name="T9" fmla="*/ 0 h 84"/>
                <a:gd name="T10" fmla="*/ 156 w 156"/>
                <a:gd name="T11" fmla="*/ 6 h 84"/>
                <a:gd name="T12" fmla="*/ 150 w 156"/>
                <a:gd name="T13" fmla="*/ 18 h 84"/>
                <a:gd name="T14" fmla="*/ 138 w 156"/>
                <a:gd name="T15" fmla="*/ 24 h 84"/>
                <a:gd name="T16" fmla="*/ 150 w 156"/>
                <a:gd name="T17" fmla="*/ 30 h 84"/>
                <a:gd name="T18" fmla="*/ 150 w 156"/>
                <a:gd name="T19" fmla="*/ 48 h 84"/>
                <a:gd name="T20" fmla="*/ 144 w 156"/>
                <a:gd name="T21" fmla="*/ 48 h 84"/>
                <a:gd name="T22" fmla="*/ 126 w 156"/>
                <a:gd name="T23" fmla="*/ 48 h 84"/>
                <a:gd name="T24" fmla="*/ 102 w 156"/>
                <a:gd name="T25" fmla="*/ 54 h 84"/>
                <a:gd name="T26" fmla="*/ 96 w 156"/>
                <a:gd name="T27" fmla="*/ 66 h 84"/>
                <a:gd name="T28" fmla="*/ 84 w 156"/>
                <a:gd name="T29" fmla="*/ 84 h 84"/>
                <a:gd name="T30" fmla="*/ 84 w 156"/>
                <a:gd name="T31" fmla="*/ 72 h 84"/>
                <a:gd name="T32" fmla="*/ 78 w 156"/>
                <a:gd name="T33" fmla="*/ 72 h 84"/>
                <a:gd name="T34" fmla="*/ 72 w 156"/>
                <a:gd name="T35" fmla="*/ 72 h 84"/>
                <a:gd name="T36" fmla="*/ 66 w 156"/>
                <a:gd name="T37" fmla="*/ 72 h 84"/>
                <a:gd name="T38" fmla="*/ 72 w 156"/>
                <a:gd name="T39" fmla="*/ 60 h 84"/>
                <a:gd name="T40" fmla="*/ 60 w 156"/>
                <a:gd name="T41" fmla="*/ 66 h 84"/>
                <a:gd name="T42" fmla="*/ 60 w 156"/>
                <a:gd name="T43" fmla="*/ 60 h 84"/>
                <a:gd name="T44" fmla="*/ 66 w 156"/>
                <a:gd name="T45" fmla="*/ 54 h 84"/>
                <a:gd name="T46" fmla="*/ 72 w 156"/>
                <a:gd name="T47" fmla="*/ 54 h 84"/>
                <a:gd name="T48" fmla="*/ 78 w 156"/>
                <a:gd name="T49" fmla="*/ 54 h 84"/>
                <a:gd name="T50" fmla="*/ 78 w 156"/>
                <a:gd name="T51" fmla="*/ 48 h 84"/>
                <a:gd name="T52" fmla="*/ 78 w 156"/>
                <a:gd name="T53" fmla="*/ 54 h 84"/>
                <a:gd name="T54" fmla="*/ 84 w 156"/>
                <a:gd name="T55" fmla="*/ 54 h 84"/>
                <a:gd name="T56" fmla="*/ 84 w 156"/>
                <a:gd name="T57" fmla="*/ 48 h 84"/>
                <a:gd name="T58" fmla="*/ 78 w 156"/>
                <a:gd name="T59" fmla="*/ 48 h 84"/>
                <a:gd name="T60" fmla="*/ 72 w 156"/>
                <a:gd name="T61" fmla="*/ 48 h 84"/>
                <a:gd name="T62" fmla="*/ 78 w 156"/>
                <a:gd name="T63" fmla="*/ 48 h 84"/>
                <a:gd name="T64" fmla="*/ 78 w 156"/>
                <a:gd name="T65" fmla="*/ 42 h 84"/>
                <a:gd name="T66" fmla="*/ 72 w 156"/>
                <a:gd name="T67" fmla="*/ 48 h 84"/>
                <a:gd name="T68" fmla="*/ 66 w 156"/>
                <a:gd name="T69" fmla="*/ 48 h 84"/>
                <a:gd name="T70" fmla="*/ 66 w 156"/>
                <a:gd name="T71" fmla="*/ 48 h 84"/>
                <a:gd name="T72" fmla="*/ 60 w 156"/>
                <a:gd name="T73" fmla="*/ 48 h 84"/>
                <a:gd name="T74" fmla="*/ 66 w 156"/>
                <a:gd name="T75" fmla="*/ 36 h 84"/>
                <a:gd name="T76" fmla="*/ 84 w 156"/>
                <a:gd name="T77" fmla="*/ 36 h 84"/>
                <a:gd name="T78" fmla="*/ 78 w 156"/>
                <a:gd name="T79" fmla="*/ 36 h 84"/>
                <a:gd name="T80" fmla="*/ 66 w 156"/>
                <a:gd name="T81" fmla="*/ 36 h 84"/>
                <a:gd name="T82" fmla="*/ 48 w 156"/>
                <a:gd name="T83" fmla="*/ 42 h 84"/>
                <a:gd name="T84" fmla="*/ 42 w 156"/>
                <a:gd name="T85" fmla="*/ 42 h 84"/>
                <a:gd name="T86" fmla="*/ 30 w 156"/>
                <a:gd name="T87" fmla="*/ 36 h 84"/>
                <a:gd name="T88" fmla="*/ 18 w 156"/>
                <a:gd name="T89" fmla="*/ 30 h 84"/>
                <a:gd name="T90" fmla="*/ 24 w 156"/>
                <a:gd name="T91" fmla="*/ 18 h 84"/>
                <a:gd name="T92" fmla="*/ 18 w 156"/>
                <a:gd name="T93" fmla="*/ 24 h 84"/>
                <a:gd name="T94" fmla="*/ 6 w 156"/>
                <a:gd name="T95" fmla="*/ 18 h 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"/>
                <a:gd name="T145" fmla="*/ 0 h 84"/>
                <a:gd name="T146" fmla="*/ 156 w 156"/>
                <a:gd name="T147" fmla="*/ 84 h 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" h="84">
                  <a:moveTo>
                    <a:pt x="0" y="12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6" y="54"/>
                  </a:lnTo>
                  <a:lnTo>
                    <a:pt x="66" y="60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3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2575" y="2136"/>
              <a:ext cx="806" cy="796"/>
            </a:xfrm>
            <a:custGeom>
              <a:avLst/>
              <a:gdLst>
                <a:gd name="T0" fmla="*/ 36 w 948"/>
                <a:gd name="T1" fmla="*/ 504 h 936"/>
                <a:gd name="T2" fmla="*/ 78 w 948"/>
                <a:gd name="T3" fmla="*/ 486 h 936"/>
                <a:gd name="T4" fmla="*/ 102 w 948"/>
                <a:gd name="T5" fmla="*/ 492 h 936"/>
                <a:gd name="T6" fmla="*/ 144 w 948"/>
                <a:gd name="T7" fmla="*/ 492 h 936"/>
                <a:gd name="T8" fmla="*/ 192 w 948"/>
                <a:gd name="T9" fmla="*/ 438 h 936"/>
                <a:gd name="T10" fmla="*/ 204 w 948"/>
                <a:gd name="T11" fmla="*/ 372 h 936"/>
                <a:gd name="T12" fmla="*/ 252 w 948"/>
                <a:gd name="T13" fmla="*/ 318 h 936"/>
                <a:gd name="T14" fmla="*/ 276 w 948"/>
                <a:gd name="T15" fmla="*/ 252 h 936"/>
                <a:gd name="T16" fmla="*/ 288 w 948"/>
                <a:gd name="T17" fmla="*/ 192 h 936"/>
                <a:gd name="T18" fmla="*/ 306 w 948"/>
                <a:gd name="T19" fmla="*/ 120 h 936"/>
                <a:gd name="T20" fmla="*/ 318 w 948"/>
                <a:gd name="T21" fmla="*/ 60 h 936"/>
                <a:gd name="T22" fmla="*/ 354 w 948"/>
                <a:gd name="T23" fmla="*/ 18 h 936"/>
                <a:gd name="T24" fmla="*/ 408 w 948"/>
                <a:gd name="T25" fmla="*/ 36 h 936"/>
                <a:gd name="T26" fmla="*/ 474 w 948"/>
                <a:gd name="T27" fmla="*/ 54 h 936"/>
                <a:gd name="T28" fmla="*/ 516 w 948"/>
                <a:gd name="T29" fmla="*/ 42 h 936"/>
                <a:gd name="T30" fmla="*/ 546 w 948"/>
                <a:gd name="T31" fmla="*/ 36 h 936"/>
                <a:gd name="T32" fmla="*/ 594 w 948"/>
                <a:gd name="T33" fmla="*/ 18 h 936"/>
                <a:gd name="T34" fmla="*/ 618 w 948"/>
                <a:gd name="T35" fmla="*/ 24 h 936"/>
                <a:gd name="T36" fmla="*/ 654 w 948"/>
                <a:gd name="T37" fmla="*/ 6 h 936"/>
                <a:gd name="T38" fmla="*/ 678 w 948"/>
                <a:gd name="T39" fmla="*/ 12 h 936"/>
                <a:gd name="T40" fmla="*/ 708 w 948"/>
                <a:gd name="T41" fmla="*/ 18 h 936"/>
                <a:gd name="T42" fmla="*/ 726 w 948"/>
                <a:gd name="T43" fmla="*/ 18 h 936"/>
                <a:gd name="T44" fmla="*/ 774 w 948"/>
                <a:gd name="T45" fmla="*/ 36 h 936"/>
                <a:gd name="T46" fmla="*/ 810 w 948"/>
                <a:gd name="T47" fmla="*/ 54 h 936"/>
                <a:gd name="T48" fmla="*/ 834 w 948"/>
                <a:gd name="T49" fmla="*/ 48 h 936"/>
                <a:gd name="T50" fmla="*/ 870 w 948"/>
                <a:gd name="T51" fmla="*/ 42 h 936"/>
                <a:gd name="T52" fmla="*/ 912 w 948"/>
                <a:gd name="T53" fmla="*/ 90 h 936"/>
                <a:gd name="T54" fmla="*/ 924 w 948"/>
                <a:gd name="T55" fmla="*/ 120 h 936"/>
                <a:gd name="T56" fmla="*/ 936 w 948"/>
                <a:gd name="T57" fmla="*/ 174 h 936"/>
                <a:gd name="T58" fmla="*/ 876 w 948"/>
                <a:gd name="T59" fmla="*/ 246 h 936"/>
                <a:gd name="T60" fmla="*/ 858 w 948"/>
                <a:gd name="T61" fmla="*/ 324 h 936"/>
                <a:gd name="T62" fmla="*/ 840 w 948"/>
                <a:gd name="T63" fmla="*/ 366 h 936"/>
                <a:gd name="T64" fmla="*/ 840 w 948"/>
                <a:gd name="T65" fmla="*/ 420 h 936"/>
                <a:gd name="T66" fmla="*/ 846 w 948"/>
                <a:gd name="T67" fmla="*/ 456 h 936"/>
                <a:gd name="T68" fmla="*/ 858 w 948"/>
                <a:gd name="T69" fmla="*/ 534 h 936"/>
                <a:gd name="T70" fmla="*/ 888 w 948"/>
                <a:gd name="T71" fmla="*/ 612 h 936"/>
                <a:gd name="T72" fmla="*/ 882 w 948"/>
                <a:gd name="T73" fmla="*/ 678 h 936"/>
                <a:gd name="T74" fmla="*/ 804 w 948"/>
                <a:gd name="T75" fmla="*/ 738 h 936"/>
                <a:gd name="T76" fmla="*/ 816 w 948"/>
                <a:gd name="T77" fmla="*/ 774 h 936"/>
                <a:gd name="T78" fmla="*/ 810 w 948"/>
                <a:gd name="T79" fmla="*/ 822 h 936"/>
                <a:gd name="T80" fmla="*/ 822 w 948"/>
                <a:gd name="T81" fmla="*/ 870 h 936"/>
                <a:gd name="T82" fmla="*/ 870 w 948"/>
                <a:gd name="T83" fmla="*/ 870 h 936"/>
                <a:gd name="T84" fmla="*/ 834 w 948"/>
                <a:gd name="T85" fmla="*/ 930 h 936"/>
                <a:gd name="T86" fmla="*/ 804 w 948"/>
                <a:gd name="T87" fmla="*/ 888 h 936"/>
                <a:gd name="T88" fmla="*/ 750 w 948"/>
                <a:gd name="T89" fmla="*/ 858 h 936"/>
                <a:gd name="T90" fmla="*/ 708 w 948"/>
                <a:gd name="T91" fmla="*/ 864 h 936"/>
                <a:gd name="T92" fmla="*/ 660 w 948"/>
                <a:gd name="T93" fmla="*/ 846 h 936"/>
                <a:gd name="T94" fmla="*/ 612 w 948"/>
                <a:gd name="T95" fmla="*/ 834 h 936"/>
                <a:gd name="T96" fmla="*/ 582 w 948"/>
                <a:gd name="T97" fmla="*/ 810 h 936"/>
                <a:gd name="T98" fmla="*/ 528 w 948"/>
                <a:gd name="T99" fmla="*/ 816 h 936"/>
                <a:gd name="T100" fmla="*/ 498 w 948"/>
                <a:gd name="T101" fmla="*/ 804 h 936"/>
                <a:gd name="T102" fmla="*/ 480 w 948"/>
                <a:gd name="T103" fmla="*/ 750 h 936"/>
                <a:gd name="T104" fmla="*/ 480 w 948"/>
                <a:gd name="T105" fmla="*/ 690 h 936"/>
                <a:gd name="T106" fmla="*/ 480 w 948"/>
                <a:gd name="T107" fmla="*/ 636 h 936"/>
                <a:gd name="T108" fmla="*/ 360 w 948"/>
                <a:gd name="T109" fmla="*/ 624 h 936"/>
                <a:gd name="T110" fmla="*/ 306 w 948"/>
                <a:gd name="T111" fmla="*/ 666 h 936"/>
                <a:gd name="T112" fmla="*/ 258 w 948"/>
                <a:gd name="T113" fmla="*/ 654 h 936"/>
                <a:gd name="T114" fmla="*/ 228 w 948"/>
                <a:gd name="T115" fmla="*/ 606 h 936"/>
                <a:gd name="T116" fmla="*/ 180 w 948"/>
                <a:gd name="T117" fmla="*/ 558 h 936"/>
                <a:gd name="T118" fmla="*/ 78 w 948"/>
                <a:gd name="T119" fmla="*/ 558 h 936"/>
                <a:gd name="T120" fmla="*/ 12 w 948"/>
                <a:gd name="T121" fmla="*/ 570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8"/>
                <a:gd name="T184" fmla="*/ 0 h 936"/>
                <a:gd name="T185" fmla="*/ 948 w 948"/>
                <a:gd name="T186" fmla="*/ 936 h 9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3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2978" y="1387"/>
              <a:ext cx="709" cy="831"/>
            </a:xfrm>
            <a:custGeom>
              <a:avLst/>
              <a:gdLst>
                <a:gd name="T0" fmla="*/ 480 w 834"/>
                <a:gd name="T1" fmla="*/ 54 h 978"/>
                <a:gd name="T2" fmla="*/ 690 w 834"/>
                <a:gd name="T3" fmla="*/ 0 h 978"/>
                <a:gd name="T4" fmla="*/ 696 w 834"/>
                <a:gd name="T5" fmla="*/ 18 h 978"/>
                <a:gd name="T6" fmla="*/ 738 w 834"/>
                <a:gd name="T7" fmla="*/ 48 h 978"/>
                <a:gd name="T8" fmla="*/ 750 w 834"/>
                <a:gd name="T9" fmla="*/ 84 h 978"/>
                <a:gd name="T10" fmla="*/ 768 w 834"/>
                <a:gd name="T11" fmla="*/ 102 h 978"/>
                <a:gd name="T12" fmla="*/ 762 w 834"/>
                <a:gd name="T13" fmla="*/ 132 h 978"/>
                <a:gd name="T14" fmla="*/ 768 w 834"/>
                <a:gd name="T15" fmla="*/ 156 h 978"/>
                <a:gd name="T16" fmla="*/ 774 w 834"/>
                <a:gd name="T17" fmla="*/ 192 h 978"/>
                <a:gd name="T18" fmla="*/ 780 w 834"/>
                <a:gd name="T19" fmla="*/ 222 h 978"/>
                <a:gd name="T20" fmla="*/ 810 w 834"/>
                <a:gd name="T21" fmla="*/ 234 h 978"/>
                <a:gd name="T22" fmla="*/ 822 w 834"/>
                <a:gd name="T23" fmla="*/ 246 h 978"/>
                <a:gd name="T24" fmla="*/ 810 w 834"/>
                <a:gd name="T25" fmla="*/ 276 h 978"/>
                <a:gd name="T26" fmla="*/ 780 w 834"/>
                <a:gd name="T27" fmla="*/ 294 h 978"/>
                <a:gd name="T28" fmla="*/ 750 w 834"/>
                <a:gd name="T29" fmla="*/ 324 h 978"/>
                <a:gd name="T30" fmla="*/ 744 w 834"/>
                <a:gd name="T31" fmla="*/ 360 h 978"/>
                <a:gd name="T32" fmla="*/ 732 w 834"/>
                <a:gd name="T33" fmla="*/ 414 h 978"/>
                <a:gd name="T34" fmla="*/ 726 w 834"/>
                <a:gd name="T35" fmla="*/ 468 h 978"/>
                <a:gd name="T36" fmla="*/ 714 w 834"/>
                <a:gd name="T37" fmla="*/ 516 h 978"/>
                <a:gd name="T38" fmla="*/ 672 w 834"/>
                <a:gd name="T39" fmla="*/ 552 h 978"/>
                <a:gd name="T40" fmla="*/ 654 w 834"/>
                <a:gd name="T41" fmla="*/ 606 h 978"/>
                <a:gd name="T42" fmla="*/ 624 w 834"/>
                <a:gd name="T43" fmla="*/ 618 h 978"/>
                <a:gd name="T44" fmla="*/ 618 w 834"/>
                <a:gd name="T45" fmla="*/ 660 h 978"/>
                <a:gd name="T46" fmla="*/ 600 w 834"/>
                <a:gd name="T47" fmla="*/ 726 h 978"/>
                <a:gd name="T48" fmla="*/ 564 w 834"/>
                <a:gd name="T49" fmla="*/ 732 h 978"/>
                <a:gd name="T50" fmla="*/ 558 w 834"/>
                <a:gd name="T51" fmla="*/ 762 h 978"/>
                <a:gd name="T52" fmla="*/ 594 w 834"/>
                <a:gd name="T53" fmla="*/ 768 h 978"/>
                <a:gd name="T54" fmla="*/ 618 w 834"/>
                <a:gd name="T55" fmla="*/ 798 h 978"/>
                <a:gd name="T56" fmla="*/ 642 w 834"/>
                <a:gd name="T57" fmla="*/ 816 h 978"/>
                <a:gd name="T58" fmla="*/ 654 w 834"/>
                <a:gd name="T59" fmla="*/ 852 h 978"/>
                <a:gd name="T60" fmla="*/ 696 w 834"/>
                <a:gd name="T61" fmla="*/ 888 h 978"/>
                <a:gd name="T62" fmla="*/ 678 w 834"/>
                <a:gd name="T63" fmla="*/ 918 h 978"/>
                <a:gd name="T64" fmla="*/ 636 w 834"/>
                <a:gd name="T65" fmla="*/ 912 h 978"/>
                <a:gd name="T66" fmla="*/ 552 w 834"/>
                <a:gd name="T67" fmla="*/ 960 h 978"/>
                <a:gd name="T68" fmla="*/ 492 w 834"/>
                <a:gd name="T69" fmla="*/ 966 h 978"/>
                <a:gd name="T70" fmla="*/ 450 w 834"/>
                <a:gd name="T71" fmla="*/ 972 h 978"/>
                <a:gd name="T72" fmla="*/ 432 w 834"/>
                <a:gd name="T73" fmla="*/ 954 h 978"/>
                <a:gd name="T74" fmla="*/ 402 w 834"/>
                <a:gd name="T75" fmla="*/ 924 h 978"/>
                <a:gd name="T76" fmla="*/ 366 w 834"/>
                <a:gd name="T77" fmla="*/ 936 h 978"/>
                <a:gd name="T78" fmla="*/ 348 w 834"/>
                <a:gd name="T79" fmla="*/ 930 h 978"/>
                <a:gd name="T80" fmla="*/ 312 w 834"/>
                <a:gd name="T81" fmla="*/ 930 h 978"/>
                <a:gd name="T82" fmla="*/ 294 w 834"/>
                <a:gd name="T83" fmla="*/ 912 h 978"/>
                <a:gd name="T84" fmla="*/ 270 w 834"/>
                <a:gd name="T85" fmla="*/ 870 h 978"/>
                <a:gd name="T86" fmla="*/ 234 w 834"/>
                <a:gd name="T87" fmla="*/ 846 h 978"/>
                <a:gd name="T88" fmla="*/ 216 w 834"/>
                <a:gd name="T89" fmla="*/ 810 h 978"/>
                <a:gd name="T90" fmla="*/ 186 w 834"/>
                <a:gd name="T91" fmla="*/ 792 h 978"/>
                <a:gd name="T92" fmla="*/ 168 w 834"/>
                <a:gd name="T93" fmla="*/ 756 h 978"/>
                <a:gd name="T94" fmla="*/ 132 w 834"/>
                <a:gd name="T95" fmla="*/ 738 h 978"/>
                <a:gd name="T96" fmla="*/ 114 w 834"/>
                <a:gd name="T97" fmla="*/ 720 h 978"/>
                <a:gd name="T98" fmla="*/ 84 w 834"/>
                <a:gd name="T99" fmla="*/ 702 h 978"/>
                <a:gd name="T100" fmla="*/ 96 w 834"/>
                <a:gd name="T101" fmla="*/ 660 h 978"/>
                <a:gd name="T102" fmla="*/ 60 w 834"/>
                <a:gd name="T103" fmla="*/ 600 h 978"/>
                <a:gd name="T104" fmla="*/ 36 w 834"/>
                <a:gd name="T105" fmla="*/ 546 h 978"/>
                <a:gd name="T106" fmla="*/ 12 w 834"/>
                <a:gd name="T107" fmla="*/ 522 h 978"/>
                <a:gd name="T108" fmla="*/ 18 w 834"/>
                <a:gd name="T109" fmla="*/ 492 h 978"/>
                <a:gd name="T110" fmla="*/ 30 w 834"/>
                <a:gd name="T111" fmla="*/ 450 h 978"/>
                <a:gd name="T112" fmla="*/ 36 w 834"/>
                <a:gd name="T113" fmla="*/ 420 h 978"/>
                <a:gd name="T114" fmla="*/ 60 w 834"/>
                <a:gd name="T115" fmla="*/ 396 h 978"/>
                <a:gd name="T116" fmla="*/ 72 w 834"/>
                <a:gd name="T117" fmla="*/ 372 h 978"/>
                <a:gd name="T118" fmla="*/ 108 w 834"/>
                <a:gd name="T119" fmla="*/ 180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34"/>
                <a:gd name="T181" fmla="*/ 0 h 978"/>
                <a:gd name="T182" fmla="*/ 834 w 834"/>
                <a:gd name="T183" fmla="*/ 978 h 9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33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3100" y="1025"/>
              <a:ext cx="469" cy="423"/>
            </a:xfrm>
            <a:custGeom>
              <a:avLst/>
              <a:gdLst>
                <a:gd name="T0" fmla="*/ 60 w 552"/>
                <a:gd name="T1" fmla="*/ 6 h 498"/>
                <a:gd name="T2" fmla="*/ 102 w 552"/>
                <a:gd name="T3" fmla="*/ 12 h 498"/>
                <a:gd name="T4" fmla="*/ 132 w 552"/>
                <a:gd name="T5" fmla="*/ 24 h 498"/>
                <a:gd name="T6" fmla="*/ 174 w 552"/>
                <a:gd name="T7" fmla="*/ 30 h 498"/>
                <a:gd name="T8" fmla="*/ 204 w 552"/>
                <a:gd name="T9" fmla="*/ 42 h 498"/>
                <a:gd name="T10" fmla="*/ 246 w 552"/>
                <a:gd name="T11" fmla="*/ 30 h 498"/>
                <a:gd name="T12" fmla="*/ 270 w 552"/>
                <a:gd name="T13" fmla="*/ 24 h 498"/>
                <a:gd name="T14" fmla="*/ 306 w 552"/>
                <a:gd name="T15" fmla="*/ 6 h 498"/>
                <a:gd name="T16" fmla="*/ 294 w 552"/>
                <a:gd name="T17" fmla="*/ 18 h 498"/>
                <a:gd name="T18" fmla="*/ 318 w 552"/>
                <a:gd name="T19" fmla="*/ 6 h 498"/>
                <a:gd name="T20" fmla="*/ 348 w 552"/>
                <a:gd name="T21" fmla="*/ 12 h 498"/>
                <a:gd name="T22" fmla="*/ 372 w 552"/>
                <a:gd name="T23" fmla="*/ 18 h 498"/>
                <a:gd name="T24" fmla="*/ 354 w 552"/>
                <a:gd name="T25" fmla="*/ 6 h 498"/>
                <a:gd name="T26" fmla="*/ 354 w 552"/>
                <a:gd name="T27" fmla="*/ 18 h 498"/>
                <a:gd name="T28" fmla="*/ 366 w 552"/>
                <a:gd name="T29" fmla="*/ 24 h 498"/>
                <a:gd name="T30" fmla="*/ 372 w 552"/>
                <a:gd name="T31" fmla="*/ 30 h 498"/>
                <a:gd name="T32" fmla="*/ 378 w 552"/>
                <a:gd name="T33" fmla="*/ 30 h 498"/>
                <a:gd name="T34" fmla="*/ 402 w 552"/>
                <a:gd name="T35" fmla="*/ 30 h 498"/>
                <a:gd name="T36" fmla="*/ 414 w 552"/>
                <a:gd name="T37" fmla="*/ 30 h 498"/>
                <a:gd name="T38" fmla="*/ 420 w 552"/>
                <a:gd name="T39" fmla="*/ 36 h 498"/>
                <a:gd name="T40" fmla="*/ 432 w 552"/>
                <a:gd name="T41" fmla="*/ 30 h 498"/>
                <a:gd name="T42" fmla="*/ 468 w 552"/>
                <a:gd name="T43" fmla="*/ 24 h 498"/>
                <a:gd name="T44" fmla="*/ 492 w 552"/>
                <a:gd name="T45" fmla="*/ 60 h 498"/>
                <a:gd name="T46" fmla="*/ 510 w 552"/>
                <a:gd name="T47" fmla="*/ 108 h 498"/>
                <a:gd name="T48" fmla="*/ 498 w 552"/>
                <a:gd name="T49" fmla="*/ 138 h 498"/>
                <a:gd name="T50" fmla="*/ 486 w 552"/>
                <a:gd name="T51" fmla="*/ 168 h 498"/>
                <a:gd name="T52" fmla="*/ 474 w 552"/>
                <a:gd name="T53" fmla="*/ 192 h 498"/>
                <a:gd name="T54" fmla="*/ 450 w 552"/>
                <a:gd name="T55" fmla="*/ 180 h 498"/>
                <a:gd name="T56" fmla="*/ 426 w 552"/>
                <a:gd name="T57" fmla="*/ 156 h 498"/>
                <a:gd name="T58" fmla="*/ 420 w 552"/>
                <a:gd name="T59" fmla="*/ 132 h 498"/>
                <a:gd name="T60" fmla="*/ 402 w 552"/>
                <a:gd name="T61" fmla="*/ 108 h 498"/>
                <a:gd name="T62" fmla="*/ 396 w 552"/>
                <a:gd name="T63" fmla="*/ 96 h 498"/>
                <a:gd name="T64" fmla="*/ 390 w 552"/>
                <a:gd name="T65" fmla="*/ 96 h 498"/>
                <a:gd name="T66" fmla="*/ 390 w 552"/>
                <a:gd name="T67" fmla="*/ 120 h 498"/>
                <a:gd name="T68" fmla="*/ 402 w 552"/>
                <a:gd name="T69" fmla="*/ 150 h 498"/>
                <a:gd name="T70" fmla="*/ 420 w 552"/>
                <a:gd name="T71" fmla="*/ 174 h 498"/>
                <a:gd name="T72" fmla="*/ 438 w 552"/>
                <a:gd name="T73" fmla="*/ 192 h 498"/>
                <a:gd name="T74" fmla="*/ 438 w 552"/>
                <a:gd name="T75" fmla="*/ 198 h 498"/>
                <a:gd name="T76" fmla="*/ 450 w 552"/>
                <a:gd name="T77" fmla="*/ 216 h 498"/>
                <a:gd name="T78" fmla="*/ 462 w 552"/>
                <a:gd name="T79" fmla="*/ 234 h 498"/>
                <a:gd name="T80" fmla="*/ 474 w 552"/>
                <a:gd name="T81" fmla="*/ 270 h 498"/>
                <a:gd name="T82" fmla="*/ 492 w 552"/>
                <a:gd name="T83" fmla="*/ 300 h 498"/>
                <a:gd name="T84" fmla="*/ 504 w 552"/>
                <a:gd name="T85" fmla="*/ 330 h 498"/>
                <a:gd name="T86" fmla="*/ 522 w 552"/>
                <a:gd name="T87" fmla="*/ 354 h 498"/>
                <a:gd name="T88" fmla="*/ 540 w 552"/>
                <a:gd name="T89" fmla="*/ 378 h 498"/>
                <a:gd name="T90" fmla="*/ 546 w 552"/>
                <a:gd name="T91" fmla="*/ 390 h 498"/>
                <a:gd name="T92" fmla="*/ 534 w 552"/>
                <a:gd name="T93" fmla="*/ 396 h 498"/>
                <a:gd name="T94" fmla="*/ 540 w 552"/>
                <a:gd name="T95" fmla="*/ 408 h 498"/>
                <a:gd name="T96" fmla="*/ 510 w 552"/>
                <a:gd name="T97" fmla="*/ 438 h 498"/>
                <a:gd name="T98" fmla="*/ 360 w 552"/>
                <a:gd name="T99" fmla="*/ 480 h 498"/>
                <a:gd name="T100" fmla="*/ 18 w 552"/>
                <a:gd name="T101" fmla="*/ 480 h 498"/>
                <a:gd name="T102" fmla="*/ 12 w 552"/>
                <a:gd name="T103" fmla="*/ 102 h 498"/>
                <a:gd name="T104" fmla="*/ 12 w 552"/>
                <a:gd name="T105" fmla="*/ 60 h 498"/>
                <a:gd name="T106" fmla="*/ 12 w 552"/>
                <a:gd name="T107" fmla="*/ 24 h 498"/>
                <a:gd name="T108" fmla="*/ 24 w 552"/>
                <a:gd name="T109" fmla="*/ 6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498"/>
                <a:gd name="T167" fmla="*/ 552 w 552"/>
                <a:gd name="T168" fmla="*/ 498 h 49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34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595" y="1606"/>
              <a:ext cx="285" cy="235"/>
            </a:xfrm>
            <a:custGeom>
              <a:avLst/>
              <a:gdLst>
                <a:gd name="T0" fmla="*/ 120 w 336"/>
                <a:gd name="T1" fmla="*/ 12 h 276"/>
                <a:gd name="T2" fmla="*/ 126 w 336"/>
                <a:gd name="T3" fmla="*/ 30 h 276"/>
                <a:gd name="T4" fmla="*/ 132 w 336"/>
                <a:gd name="T5" fmla="*/ 48 h 276"/>
                <a:gd name="T6" fmla="*/ 132 w 336"/>
                <a:gd name="T7" fmla="*/ 60 h 276"/>
                <a:gd name="T8" fmla="*/ 138 w 336"/>
                <a:gd name="T9" fmla="*/ 66 h 276"/>
                <a:gd name="T10" fmla="*/ 138 w 336"/>
                <a:gd name="T11" fmla="*/ 90 h 276"/>
                <a:gd name="T12" fmla="*/ 150 w 336"/>
                <a:gd name="T13" fmla="*/ 114 h 276"/>
                <a:gd name="T14" fmla="*/ 162 w 336"/>
                <a:gd name="T15" fmla="*/ 126 h 276"/>
                <a:gd name="T16" fmla="*/ 168 w 336"/>
                <a:gd name="T17" fmla="*/ 144 h 276"/>
                <a:gd name="T18" fmla="*/ 168 w 336"/>
                <a:gd name="T19" fmla="*/ 126 h 276"/>
                <a:gd name="T20" fmla="*/ 174 w 336"/>
                <a:gd name="T21" fmla="*/ 126 h 276"/>
                <a:gd name="T22" fmla="*/ 186 w 336"/>
                <a:gd name="T23" fmla="*/ 138 h 276"/>
                <a:gd name="T24" fmla="*/ 186 w 336"/>
                <a:gd name="T25" fmla="*/ 150 h 276"/>
                <a:gd name="T26" fmla="*/ 198 w 336"/>
                <a:gd name="T27" fmla="*/ 150 h 276"/>
                <a:gd name="T28" fmla="*/ 204 w 336"/>
                <a:gd name="T29" fmla="*/ 144 h 276"/>
                <a:gd name="T30" fmla="*/ 204 w 336"/>
                <a:gd name="T31" fmla="*/ 144 h 276"/>
                <a:gd name="T32" fmla="*/ 210 w 336"/>
                <a:gd name="T33" fmla="*/ 150 h 276"/>
                <a:gd name="T34" fmla="*/ 228 w 336"/>
                <a:gd name="T35" fmla="*/ 162 h 276"/>
                <a:gd name="T36" fmla="*/ 246 w 336"/>
                <a:gd name="T37" fmla="*/ 174 h 276"/>
                <a:gd name="T38" fmla="*/ 258 w 336"/>
                <a:gd name="T39" fmla="*/ 198 h 276"/>
                <a:gd name="T40" fmla="*/ 270 w 336"/>
                <a:gd name="T41" fmla="*/ 204 h 276"/>
                <a:gd name="T42" fmla="*/ 282 w 336"/>
                <a:gd name="T43" fmla="*/ 216 h 276"/>
                <a:gd name="T44" fmla="*/ 294 w 336"/>
                <a:gd name="T45" fmla="*/ 216 h 276"/>
                <a:gd name="T46" fmla="*/ 300 w 336"/>
                <a:gd name="T47" fmla="*/ 234 h 276"/>
                <a:gd name="T48" fmla="*/ 312 w 336"/>
                <a:gd name="T49" fmla="*/ 246 h 276"/>
                <a:gd name="T50" fmla="*/ 318 w 336"/>
                <a:gd name="T51" fmla="*/ 252 h 276"/>
                <a:gd name="T52" fmla="*/ 324 w 336"/>
                <a:gd name="T53" fmla="*/ 252 h 276"/>
                <a:gd name="T54" fmla="*/ 330 w 336"/>
                <a:gd name="T55" fmla="*/ 258 h 276"/>
                <a:gd name="T56" fmla="*/ 318 w 336"/>
                <a:gd name="T57" fmla="*/ 264 h 276"/>
                <a:gd name="T58" fmla="*/ 306 w 336"/>
                <a:gd name="T59" fmla="*/ 270 h 276"/>
                <a:gd name="T60" fmla="*/ 288 w 336"/>
                <a:gd name="T61" fmla="*/ 258 h 276"/>
                <a:gd name="T62" fmla="*/ 276 w 336"/>
                <a:gd name="T63" fmla="*/ 246 h 276"/>
                <a:gd name="T64" fmla="*/ 246 w 336"/>
                <a:gd name="T65" fmla="*/ 216 h 276"/>
                <a:gd name="T66" fmla="*/ 228 w 336"/>
                <a:gd name="T67" fmla="*/ 198 h 276"/>
                <a:gd name="T68" fmla="*/ 210 w 336"/>
                <a:gd name="T69" fmla="*/ 186 h 276"/>
                <a:gd name="T70" fmla="*/ 186 w 336"/>
                <a:gd name="T71" fmla="*/ 174 h 276"/>
                <a:gd name="T72" fmla="*/ 162 w 336"/>
                <a:gd name="T73" fmla="*/ 174 h 276"/>
                <a:gd name="T74" fmla="*/ 150 w 336"/>
                <a:gd name="T75" fmla="*/ 174 h 276"/>
                <a:gd name="T76" fmla="*/ 132 w 336"/>
                <a:gd name="T77" fmla="*/ 162 h 276"/>
                <a:gd name="T78" fmla="*/ 120 w 336"/>
                <a:gd name="T79" fmla="*/ 174 h 276"/>
                <a:gd name="T80" fmla="*/ 96 w 336"/>
                <a:gd name="T81" fmla="*/ 174 h 276"/>
                <a:gd name="T82" fmla="*/ 84 w 336"/>
                <a:gd name="T83" fmla="*/ 162 h 276"/>
                <a:gd name="T84" fmla="*/ 60 w 336"/>
                <a:gd name="T85" fmla="*/ 192 h 276"/>
                <a:gd name="T86" fmla="*/ 48 w 336"/>
                <a:gd name="T87" fmla="*/ 180 h 276"/>
                <a:gd name="T88" fmla="*/ 36 w 336"/>
                <a:gd name="T89" fmla="*/ 180 h 276"/>
                <a:gd name="T90" fmla="*/ 24 w 336"/>
                <a:gd name="T91" fmla="*/ 180 h 276"/>
                <a:gd name="T92" fmla="*/ 6 w 336"/>
                <a:gd name="T93" fmla="*/ 174 h 276"/>
                <a:gd name="T94" fmla="*/ 0 w 336"/>
                <a:gd name="T95" fmla="*/ 144 h 276"/>
                <a:gd name="T96" fmla="*/ 12 w 336"/>
                <a:gd name="T97" fmla="*/ 126 h 276"/>
                <a:gd name="T98" fmla="*/ 18 w 336"/>
                <a:gd name="T99" fmla="*/ 102 h 276"/>
                <a:gd name="T100" fmla="*/ 30 w 336"/>
                <a:gd name="T101" fmla="*/ 84 h 276"/>
                <a:gd name="T102" fmla="*/ 30 w 336"/>
                <a:gd name="T103" fmla="*/ 72 h 276"/>
                <a:gd name="T104" fmla="*/ 30 w 336"/>
                <a:gd name="T105" fmla="*/ 60 h 276"/>
                <a:gd name="T106" fmla="*/ 36 w 336"/>
                <a:gd name="T107" fmla="*/ 42 h 276"/>
                <a:gd name="T108" fmla="*/ 54 w 336"/>
                <a:gd name="T109" fmla="*/ 36 h 276"/>
                <a:gd name="T110" fmla="*/ 66 w 336"/>
                <a:gd name="T111" fmla="*/ 24 h 276"/>
                <a:gd name="T112" fmla="*/ 84 w 336"/>
                <a:gd name="T113" fmla="*/ 18 h 276"/>
                <a:gd name="T114" fmla="*/ 96 w 336"/>
                <a:gd name="T115" fmla="*/ 18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6"/>
                <a:gd name="T175" fmla="*/ 0 h 276"/>
                <a:gd name="T176" fmla="*/ 336 w 336"/>
                <a:gd name="T177" fmla="*/ 276 h 2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35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3304" y="2187"/>
              <a:ext cx="235" cy="240"/>
            </a:xfrm>
            <a:custGeom>
              <a:avLst/>
              <a:gdLst>
                <a:gd name="T0" fmla="*/ 72 w 276"/>
                <a:gd name="T1" fmla="*/ 30 h 282"/>
                <a:gd name="T2" fmla="*/ 78 w 276"/>
                <a:gd name="T3" fmla="*/ 18 h 282"/>
                <a:gd name="T4" fmla="*/ 102 w 276"/>
                <a:gd name="T5" fmla="*/ 24 h 282"/>
                <a:gd name="T6" fmla="*/ 114 w 276"/>
                <a:gd name="T7" fmla="*/ 18 h 282"/>
                <a:gd name="T8" fmla="*/ 120 w 276"/>
                <a:gd name="T9" fmla="*/ 30 h 282"/>
                <a:gd name="T10" fmla="*/ 144 w 276"/>
                <a:gd name="T11" fmla="*/ 24 h 282"/>
                <a:gd name="T12" fmla="*/ 174 w 276"/>
                <a:gd name="T13" fmla="*/ 12 h 282"/>
                <a:gd name="T14" fmla="*/ 210 w 276"/>
                <a:gd name="T15" fmla="*/ 6 h 282"/>
                <a:gd name="T16" fmla="*/ 228 w 276"/>
                <a:gd name="T17" fmla="*/ 6 h 282"/>
                <a:gd name="T18" fmla="*/ 234 w 276"/>
                <a:gd name="T19" fmla="*/ 12 h 282"/>
                <a:gd name="T20" fmla="*/ 234 w 276"/>
                <a:gd name="T21" fmla="*/ 18 h 282"/>
                <a:gd name="T22" fmla="*/ 234 w 276"/>
                <a:gd name="T23" fmla="*/ 24 h 282"/>
                <a:gd name="T24" fmla="*/ 246 w 276"/>
                <a:gd name="T25" fmla="*/ 30 h 282"/>
                <a:gd name="T26" fmla="*/ 246 w 276"/>
                <a:gd name="T27" fmla="*/ 36 h 282"/>
                <a:gd name="T28" fmla="*/ 246 w 276"/>
                <a:gd name="T29" fmla="*/ 42 h 282"/>
                <a:gd name="T30" fmla="*/ 252 w 276"/>
                <a:gd name="T31" fmla="*/ 54 h 282"/>
                <a:gd name="T32" fmla="*/ 258 w 276"/>
                <a:gd name="T33" fmla="*/ 66 h 282"/>
                <a:gd name="T34" fmla="*/ 270 w 276"/>
                <a:gd name="T35" fmla="*/ 84 h 282"/>
                <a:gd name="T36" fmla="*/ 270 w 276"/>
                <a:gd name="T37" fmla="*/ 108 h 282"/>
                <a:gd name="T38" fmla="*/ 270 w 276"/>
                <a:gd name="T39" fmla="*/ 132 h 282"/>
                <a:gd name="T40" fmla="*/ 258 w 276"/>
                <a:gd name="T41" fmla="*/ 138 h 282"/>
                <a:gd name="T42" fmla="*/ 258 w 276"/>
                <a:gd name="T43" fmla="*/ 144 h 282"/>
                <a:gd name="T44" fmla="*/ 246 w 276"/>
                <a:gd name="T45" fmla="*/ 150 h 282"/>
                <a:gd name="T46" fmla="*/ 246 w 276"/>
                <a:gd name="T47" fmla="*/ 168 h 282"/>
                <a:gd name="T48" fmla="*/ 234 w 276"/>
                <a:gd name="T49" fmla="*/ 174 h 282"/>
                <a:gd name="T50" fmla="*/ 228 w 276"/>
                <a:gd name="T51" fmla="*/ 192 h 282"/>
                <a:gd name="T52" fmla="*/ 222 w 276"/>
                <a:gd name="T53" fmla="*/ 204 h 282"/>
                <a:gd name="T54" fmla="*/ 216 w 276"/>
                <a:gd name="T55" fmla="*/ 228 h 282"/>
                <a:gd name="T56" fmla="*/ 102 w 276"/>
                <a:gd name="T57" fmla="*/ 258 h 282"/>
                <a:gd name="T58" fmla="*/ 66 w 276"/>
                <a:gd name="T59" fmla="*/ 258 h 282"/>
                <a:gd name="T60" fmla="*/ 48 w 276"/>
                <a:gd name="T61" fmla="*/ 258 h 282"/>
                <a:gd name="T62" fmla="*/ 36 w 276"/>
                <a:gd name="T63" fmla="*/ 264 h 282"/>
                <a:gd name="T64" fmla="*/ 30 w 276"/>
                <a:gd name="T65" fmla="*/ 276 h 282"/>
                <a:gd name="T66" fmla="*/ 18 w 276"/>
                <a:gd name="T67" fmla="*/ 282 h 282"/>
                <a:gd name="T68" fmla="*/ 12 w 276"/>
                <a:gd name="T69" fmla="*/ 270 h 282"/>
                <a:gd name="T70" fmla="*/ 6 w 276"/>
                <a:gd name="T71" fmla="*/ 270 h 282"/>
                <a:gd name="T72" fmla="*/ 0 w 276"/>
                <a:gd name="T73" fmla="*/ 264 h 282"/>
                <a:gd name="T74" fmla="*/ 6 w 276"/>
                <a:gd name="T75" fmla="*/ 252 h 282"/>
                <a:gd name="T76" fmla="*/ 6 w 276"/>
                <a:gd name="T77" fmla="*/ 234 h 282"/>
                <a:gd name="T78" fmla="*/ 12 w 276"/>
                <a:gd name="T79" fmla="*/ 204 h 282"/>
                <a:gd name="T80" fmla="*/ 18 w 276"/>
                <a:gd name="T81" fmla="*/ 192 h 282"/>
                <a:gd name="T82" fmla="*/ 24 w 276"/>
                <a:gd name="T83" fmla="*/ 174 h 282"/>
                <a:gd name="T84" fmla="*/ 30 w 276"/>
                <a:gd name="T85" fmla="*/ 162 h 282"/>
                <a:gd name="T86" fmla="*/ 36 w 276"/>
                <a:gd name="T87" fmla="*/ 150 h 282"/>
                <a:gd name="T88" fmla="*/ 60 w 276"/>
                <a:gd name="T89" fmla="*/ 132 h 282"/>
                <a:gd name="T90" fmla="*/ 84 w 276"/>
                <a:gd name="T91" fmla="*/ 108 h 282"/>
                <a:gd name="T92" fmla="*/ 78 w 276"/>
                <a:gd name="T93" fmla="*/ 96 h 282"/>
                <a:gd name="T94" fmla="*/ 66 w 276"/>
                <a:gd name="T95" fmla="*/ 90 h 282"/>
                <a:gd name="T96" fmla="*/ 60 w 276"/>
                <a:gd name="T97" fmla="*/ 78 h 282"/>
                <a:gd name="T98" fmla="*/ 66 w 276"/>
                <a:gd name="T99" fmla="*/ 60 h 282"/>
                <a:gd name="T100" fmla="*/ 66 w 276"/>
                <a:gd name="T101" fmla="*/ 48 h 282"/>
                <a:gd name="T102" fmla="*/ 66 w 276"/>
                <a:gd name="T103" fmla="*/ 36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6"/>
                <a:gd name="T157" fmla="*/ 0 h 282"/>
                <a:gd name="T158" fmla="*/ 276 w 27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36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3452" y="1734"/>
              <a:ext cx="633" cy="484"/>
            </a:xfrm>
            <a:custGeom>
              <a:avLst/>
              <a:gdLst>
                <a:gd name="T0" fmla="*/ 186 w 744"/>
                <a:gd name="T1" fmla="*/ 30 h 570"/>
                <a:gd name="T2" fmla="*/ 204 w 744"/>
                <a:gd name="T3" fmla="*/ 24 h 570"/>
                <a:gd name="T4" fmla="*/ 222 w 744"/>
                <a:gd name="T5" fmla="*/ 42 h 570"/>
                <a:gd name="T6" fmla="*/ 258 w 744"/>
                <a:gd name="T7" fmla="*/ 12 h 570"/>
                <a:gd name="T8" fmla="*/ 282 w 744"/>
                <a:gd name="T9" fmla="*/ 24 h 570"/>
                <a:gd name="T10" fmla="*/ 306 w 744"/>
                <a:gd name="T11" fmla="*/ 18 h 570"/>
                <a:gd name="T12" fmla="*/ 330 w 744"/>
                <a:gd name="T13" fmla="*/ 18 h 570"/>
                <a:gd name="T14" fmla="*/ 360 w 744"/>
                <a:gd name="T15" fmla="*/ 24 h 570"/>
                <a:gd name="T16" fmla="*/ 390 w 744"/>
                <a:gd name="T17" fmla="*/ 42 h 570"/>
                <a:gd name="T18" fmla="*/ 432 w 744"/>
                <a:gd name="T19" fmla="*/ 84 h 570"/>
                <a:gd name="T20" fmla="*/ 450 w 744"/>
                <a:gd name="T21" fmla="*/ 108 h 570"/>
                <a:gd name="T22" fmla="*/ 462 w 744"/>
                <a:gd name="T23" fmla="*/ 132 h 570"/>
                <a:gd name="T24" fmla="*/ 438 w 744"/>
                <a:gd name="T25" fmla="*/ 156 h 570"/>
                <a:gd name="T26" fmla="*/ 438 w 744"/>
                <a:gd name="T27" fmla="*/ 192 h 570"/>
                <a:gd name="T28" fmla="*/ 468 w 744"/>
                <a:gd name="T29" fmla="*/ 198 h 570"/>
                <a:gd name="T30" fmla="*/ 492 w 744"/>
                <a:gd name="T31" fmla="*/ 198 h 570"/>
                <a:gd name="T32" fmla="*/ 486 w 744"/>
                <a:gd name="T33" fmla="*/ 228 h 570"/>
                <a:gd name="T34" fmla="*/ 510 w 744"/>
                <a:gd name="T35" fmla="*/ 252 h 570"/>
                <a:gd name="T36" fmla="*/ 540 w 744"/>
                <a:gd name="T37" fmla="*/ 288 h 570"/>
                <a:gd name="T38" fmla="*/ 648 w 744"/>
                <a:gd name="T39" fmla="*/ 330 h 570"/>
                <a:gd name="T40" fmla="*/ 594 w 744"/>
                <a:gd name="T41" fmla="*/ 498 h 570"/>
                <a:gd name="T42" fmla="*/ 498 w 744"/>
                <a:gd name="T43" fmla="*/ 516 h 570"/>
                <a:gd name="T44" fmla="*/ 474 w 744"/>
                <a:gd name="T45" fmla="*/ 534 h 570"/>
                <a:gd name="T46" fmla="*/ 444 w 744"/>
                <a:gd name="T47" fmla="*/ 546 h 570"/>
                <a:gd name="T48" fmla="*/ 408 w 744"/>
                <a:gd name="T49" fmla="*/ 546 h 570"/>
                <a:gd name="T50" fmla="*/ 390 w 744"/>
                <a:gd name="T51" fmla="*/ 528 h 570"/>
                <a:gd name="T52" fmla="*/ 354 w 744"/>
                <a:gd name="T53" fmla="*/ 540 h 570"/>
                <a:gd name="T54" fmla="*/ 318 w 744"/>
                <a:gd name="T55" fmla="*/ 570 h 570"/>
                <a:gd name="T56" fmla="*/ 288 w 744"/>
                <a:gd name="T57" fmla="*/ 564 h 570"/>
                <a:gd name="T58" fmla="*/ 252 w 744"/>
                <a:gd name="T59" fmla="*/ 564 h 570"/>
                <a:gd name="T60" fmla="*/ 198 w 744"/>
                <a:gd name="T61" fmla="*/ 528 h 570"/>
                <a:gd name="T62" fmla="*/ 156 w 744"/>
                <a:gd name="T63" fmla="*/ 522 h 570"/>
                <a:gd name="T64" fmla="*/ 144 w 744"/>
                <a:gd name="T65" fmla="*/ 486 h 570"/>
                <a:gd name="T66" fmla="*/ 132 w 744"/>
                <a:gd name="T67" fmla="*/ 474 h 570"/>
                <a:gd name="T68" fmla="*/ 102 w 744"/>
                <a:gd name="T69" fmla="*/ 456 h 570"/>
                <a:gd name="T70" fmla="*/ 96 w 744"/>
                <a:gd name="T71" fmla="*/ 420 h 570"/>
                <a:gd name="T72" fmla="*/ 84 w 744"/>
                <a:gd name="T73" fmla="*/ 408 h 570"/>
                <a:gd name="T74" fmla="*/ 72 w 744"/>
                <a:gd name="T75" fmla="*/ 402 h 570"/>
                <a:gd name="T76" fmla="*/ 48 w 744"/>
                <a:gd name="T77" fmla="*/ 384 h 570"/>
                <a:gd name="T78" fmla="*/ 36 w 744"/>
                <a:gd name="T79" fmla="*/ 360 h 570"/>
                <a:gd name="T80" fmla="*/ 24 w 744"/>
                <a:gd name="T81" fmla="*/ 360 h 570"/>
                <a:gd name="T82" fmla="*/ 0 w 744"/>
                <a:gd name="T83" fmla="*/ 354 h 570"/>
                <a:gd name="T84" fmla="*/ 6 w 744"/>
                <a:gd name="T85" fmla="*/ 336 h 570"/>
                <a:gd name="T86" fmla="*/ 18 w 744"/>
                <a:gd name="T87" fmla="*/ 324 h 570"/>
                <a:gd name="T88" fmla="*/ 36 w 744"/>
                <a:gd name="T89" fmla="*/ 324 h 570"/>
                <a:gd name="T90" fmla="*/ 54 w 744"/>
                <a:gd name="T91" fmla="*/ 306 h 570"/>
                <a:gd name="T92" fmla="*/ 60 w 744"/>
                <a:gd name="T93" fmla="*/ 252 h 570"/>
                <a:gd name="T94" fmla="*/ 66 w 744"/>
                <a:gd name="T95" fmla="*/ 222 h 570"/>
                <a:gd name="T96" fmla="*/ 72 w 744"/>
                <a:gd name="T97" fmla="*/ 204 h 570"/>
                <a:gd name="T98" fmla="*/ 90 w 744"/>
                <a:gd name="T99" fmla="*/ 204 h 570"/>
                <a:gd name="T100" fmla="*/ 102 w 744"/>
                <a:gd name="T101" fmla="*/ 174 h 570"/>
                <a:gd name="T102" fmla="*/ 114 w 744"/>
                <a:gd name="T103" fmla="*/ 144 h 570"/>
                <a:gd name="T104" fmla="*/ 132 w 744"/>
                <a:gd name="T105" fmla="*/ 114 h 570"/>
                <a:gd name="T106" fmla="*/ 156 w 744"/>
                <a:gd name="T107" fmla="*/ 108 h 570"/>
                <a:gd name="T108" fmla="*/ 168 w 744"/>
                <a:gd name="T109" fmla="*/ 72 h 570"/>
                <a:gd name="T110" fmla="*/ 174 w 744"/>
                <a:gd name="T111" fmla="*/ 48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4"/>
                <a:gd name="T169" fmla="*/ 0 h 570"/>
                <a:gd name="T170" fmla="*/ 744 w 744"/>
                <a:gd name="T171" fmla="*/ 570 h 5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37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3789" y="1856"/>
              <a:ext cx="438" cy="576"/>
            </a:xfrm>
            <a:custGeom>
              <a:avLst/>
              <a:gdLst>
                <a:gd name="T0" fmla="*/ 60 w 516"/>
                <a:gd name="T1" fmla="*/ 390 h 678"/>
                <a:gd name="T2" fmla="*/ 90 w 516"/>
                <a:gd name="T3" fmla="*/ 384 h 678"/>
                <a:gd name="T4" fmla="*/ 102 w 516"/>
                <a:gd name="T5" fmla="*/ 366 h 678"/>
                <a:gd name="T6" fmla="*/ 198 w 516"/>
                <a:gd name="T7" fmla="*/ 354 h 678"/>
                <a:gd name="T8" fmla="*/ 258 w 516"/>
                <a:gd name="T9" fmla="*/ 186 h 678"/>
                <a:gd name="T10" fmla="*/ 174 w 516"/>
                <a:gd name="T11" fmla="*/ 156 h 678"/>
                <a:gd name="T12" fmla="*/ 120 w 516"/>
                <a:gd name="T13" fmla="*/ 132 h 678"/>
                <a:gd name="T14" fmla="*/ 102 w 516"/>
                <a:gd name="T15" fmla="*/ 108 h 678"/>
                <a:gd name="T16" fmla="*/ 90 w 516"/>
                <a:gd name="T17" fmla="*/ 78 h 678"/>
                <a:gd name="T18" fmla="*/ 96 w 516"/>
                <a:gd name="T19" fmla="*/ 54 h 678"/>
                <a:gd name="T20" fmla="*/ 114 w 516"/>
                <a:gd name="T21" fmla="*/ 30 h 678"/>
                <a:gd name="T22" fmla="*/ 126 w 516"/>
                <a:gd name="T23" fmla="*/ 36 h 678"/>
                <a:gd name="T24" fmla="*/ 150 w 516"/>
                <a:gd name="T25" fmla="*/ 66 h 678"/>
                <a:gd name="T26" fmla="*/ 168 w 516"/>
                <a:gd name="T27" fmla="*/ 84 h 678"/>
                <a:gd name="T28" fmla="*/ 192 w 516"/>
                <a:gd name="T29" fmla="*/ 78 h 678"/>
                <a:gd name="T30" fmla="*/ 216 w 516"/>
                <a:gd name="T31" fmla="*/ 66 h 678"/>
                <a:gd name="T32" fmla="*/ 240 w 516"/>
                <a:gd name="T33" fmla="*/ 60 h 678"/>
                <a:gd name="T34" fmla="*/ 270 w 516"/>
                <a:gd name="T35" fmla="*/ 66 h 678"/>
                <a:gd name="T36" fmla="*/ 294 w 516"/>
                <a:gd name="T37" fmla="*/ 60 h 678"/>
                <a:gd name="T38" fmla="*/ 312 w 516"/>
                <a:gd name="T39" fmla="*/ 48 h 678"/>
                <a:gd name="T40" fmla="*/ 336 w 516"/>
                <a:gd name="T41" fmla="*/ 48 h 678"/>
                <a:gd name="T42" fmla="*/ 354 w 516"/>
                <a:gd name="T43" fmla="*/ 42 h 678"/>
                <a:gd name="T44" fmla="*/ 384 w 516"/>
                <a:gd name="T45" fmla="*/ 36 h 678"/>
                <a:gd name="T46" fmla="*/ 408 w 516"/>
                <a:gd name="T47" fmla="*/ 36 h 678"/>
                <a:gd name="T48" fmla="*/ 432 w 516"/>
                <a:gd name="T49" fmla="*/ 30 h 678"/>
                <a:gd name="T50" fmla="*/ 450 w 516"/>
                <a:gd name="T51" fmla="*/ 24 h 678"/>
                <a:gd name="T52" fmla="*/ 474 w 516"/>
                <a:gd name="T53" fmla="*/ 12 h 678"/>
                <a:gd name="T54" fmla="*/ 486 w 516"/>
                <a:gd name="T55" fmla="*/ 0 h 678"/>
                <a:gd name="T56" fmla="*/ 510 w 516"/>
                <a:gd name="T57" fmla="*/ 18 h 678"/>
                <a:gd name="T58" fmla="*/ 498 w 516"/>
                <a:gd name="T59" fmla="*/ 42 h 678"/>
                <a:gd name="T60" fmla="*/ 504 w 516"/>
                <a:gd name="T61" fmla="*/ 72 h 678"/>
                <a:gd name="T62" fmla="*/ 504 w 516"/>
                <a:gd name="T63" fmla="*/ 78 h 678"/>
                <a:gd name="T64" fmla="*/ 516 w 516"/>
                <a:gd name="T65" fmla="*/ 84 h 678"/>
                <a:gd name="T66" fmla="*/ 492 w 516"/>
                <a:gd name="T67" fmla="*/ 84 h 678"/>
                <a:gd name="T68" fmla="*/ 486 w 516"/>
                <a:gd name="T69" fmla="*/ 114 h 678"/>
                <a:gd name="T70" fmla="*/ 486 w 516"/>
                <a:gd name="T71" fmla="*/ 138 h 678"/>
                <a:gd name="T72" fmla="*/ 468 w 516"/>
                <a:gd name="T73" fmla="*/ 156 h 678"/>
                <a:gd name="T74" fmla="*/ 456 w 516"/>
                <a:gd name="T75" fmla="*/ 180 h 678"/>
                <a:gd name="T76" fmla="*/ 438 w 516"/>
                <a:gd name="T77" fmla="*/ 204 h 678"/>
                <a:gd name="T78" fmla="*/ 426 w 516"/>
                <a:gd name="T79" fmla="*/ 234 h 678"/>
                <a:gd name="T80" fmla="*/ 408 w 516"/>
                <a:gd name="T81" fmla="*/ 264 h 678"/>
                <a:gd name="T82" fmla="*/ 396 w 516"/>
                <a:gd name="T83" fmla="*/ 294 h 678"/>
                <a:gd name="T84" fmla="*/ 372 w 516"/>
                <a:gd name="T85" fmla="*/ 330 h 678"/>
                <a:gd name="T86" fmla="*/ 348 w 516"/>
                <a:gd name="T87" fmla="*/ 366 h 678"/>
                <a:gd name="T88" fmla="*/ 330 w 516"/>
                <a:gd name="T89" fmla="*/ 390 h 678"/>
                <a:gd name="T90" fmla="*/ 306 w 516"/>
                <a:gd name="T91" fmla="*/ 420 h 678"/>
                <a:gd name="T92" fmla="*/ 282 w 516"/>
                <a:gd name="T93" fmla="*/ 444 h 678"/>
                <a:gd name="T94" fmla="*/ 252 w 516"/>
                <a:gd name="T95" fmla="*/ 468 h 678"/>
                <a:gd name="T96" fmla="*/ 234 w 516"/>
                <a:gd name="T97" fmla="*/ 486 h 678"/>
                <a:gd name="T98" fmla="*/ 210 w 516"/>
                <a:gd name="T99" fmla="*/ 498 h 678"/>
                <a:gd name="T100" fmla="*/ 186 w 516"/>
                <a:gd name="T101" fmla="*/ 516 h 678"/>
                <a:gd name="T102" fmla="*/ 162 w 516"/>
                <a:gd name="T103" fmla="*/ 534 h 678"/>
                <a:gd name="T104" fmla="*/ 144 w 516"/>
                <a:gd name="T105" fmla="*/ 546 h 678"/>
                <a:gd name="T106" fmla="*/ 126 w 516"/>
                <a:gd name="T107" fmla="*/ 564 h 678"/>
                <a:gd name="T108" fmla="*/ 96 w 516"/>
                <a:gd name="T109" fmla="*/ 600 h 678"/>
                <a:gd name="T110" fmla="*/ 72 w 516"/>
                <a:gd name="T111" fmla="*/ 618 h 678"/>
                <a:gd name="T112" fmla="*/ 60 w 516"/>
                <a:gd name="T113" fmla="*/ 636 h 678"/>
                <a:gd name="T114" fmla="*/ 54 w 516"/>
                <a:gd name="T115" fmla="*/ 636 h 678"/>
                <a:gd name="T116" fmla="*/ 48 w 516"/>
                <a:gd name="T117" fmla="*/ 648 h 678"/>
                <a:gd name="T118" fmla="*/ 42 w 516"/>
                <a:gd name="T119" fmla="*/ 660 h 678"/>
                <a:gd name="T120" fmla="*/ 42 w 516"/>
                <a:gd name="T121" fmla="*/ 654 h 678"/>
                <a:gd name="T122" fmla="*/ 0 w 516"/>
                <a:gd name="T123" fmla="*/ 636 h 678"/>
                <a:gd name="T124" fmla="*/ 0 w 516"/>
                <a:gd name="T125" fmla="*/ 498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16"/>
                <a:gd name="T190" fmla="*/ 0 h 678"/>
                <a:gd name="T191" fmla="*/ 516 w 516"/>
                <a:gd name="T192" fmla="*/ 678 h 6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38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3488" y="2152"/>
              <a:ext cx="337" cy="408"/>
            </a:xfrm>
            <a:custGeom>
              <a:avLst/>
              <a:gdLst>
                <a:gd name="T0" fmla="*/ 24 w 396"/>
                <a:gd name="T1" fmla="*/ 18 h 480"/>
                <a:gd name="T2" fmla="*/ 48 w 396"/>
                <a:gd name="T3" fmla="*/ 6 h 480"/>
                <a:gd name="T4" fmla="*/ 72 w 396"/>
                <a:gd name="T5" fmla="*/ 0 h 480"/>
                <a:gd name="T6" fmla="*/ 78 w 396"/>
                <a:gd name="T7" fmla="*/ 18 h 480"/>
                <a:gd name="T8" fmla="*/ 102 w 396"/>
                <a:gd name="T9" fmla="*/ 24 h 480"/>
                <a:gd name="T10" fmla="*/ 132 w 396"/>
                <a:gd name="T11" fmla="*/ 30 h 480"/>
                <a:gd name="T12" fmla="*/ 156 w 396"/>
                <a:gd name="T13" fmla="*/ 36 h 480"/>
                <a:gd name="T14" fmla="*/ 204 w 396"/>
                <a:gd name="T15" fmla="*/ 66 h 480"/>
                <a:gd name="T16" fmla="*/ 228 w 396"/>
                <a:gd name="T17" fmla="*/ 72 h 480"/>
                <a:gd name="T18" fmla="*/ 246 w 396"/>
                <a:gd name="T19" fmla="*/ 72 h 480"/>
                <a:gd name="T20" fmla="*/ 264 w 396"/>
                <a:gd name="T21" fmla="*/ 78 h 480"/>
                <a:gd name="T22" fmla="*/ 294 w 396"/>
                <a:gd name="T23" fmla="*/ 66 h 480"/>
                <a:gd name="T24" fmla="*/ 312 w 396"/>
                <a:gd name="T25" fmla="*/ 48 h 480"/>
                <a:gd name="T26" fmla="*/ 336 w 396"/>
                <a:gd name="T27" fmla="*/ 42 h 480"/>
                <a:gd name="T28" fmla="*/ 354 w 396"/>
                <a:gd name="T29" fmla="*/ 42 h 480"/>
                <a:gd name="T30" fmla="*/ 366 w 396"/>
                <a:gd name="T31" fmla="*/ 54 h 480"/>
                <a:gd name="T32" fmla="*/ 390 w 396"/>
                <a:gd name="T33" fmla="*/ 54 h 480"/>
                <a:gd name="T34" fmla="*/ 354 w 396"/>
                <a:gd name="T35" fmla="*/ 108 h 480"/>
                <a:gd name="T36" fmla="*/ 354 w 396"/>
                <a:gd name="T37" fmla="*/ 252 h 480"/>
                <a:gd name="T38" fmla="*/ 378 w 396"/>
                <a:gd name="T39" fmla="*/ 336 h 480"/>
                <a:gd name="T40" fmla="*/ 372 w 396"/>
                <a:gd name="T41" fmla="*/ 342 h 480"/>
                <a:gd name="T42" fmla="*/ 366 w 396"/>
                <a:gd name="T43" fmla="*/ 348 h 480"/>
                <a:gd name="T44" fmla="*/ 354 w 396"/>
                <a:gd name="T45" fmla="*/ 348 h 480"/>
                <a:gd name="T46" fmla="*/ 348 w 396"/>
                <a:gd name="T47" fmla="*/ 354 h 480"/>
                <a:gd name="T48" fmla="*/ 354 w 396"/>
                <a:gd name="T49" fmla="*/ 360 h 480"/>
                <a:gd name="T50" fmla="*/ 354 w 396"/>
                <a:gd name="T51" fmla="*/ 360 h 480"/>
                <a:gd name="T52" fmla="*/ 342 w 396"/>
                <a:gd name="T53" fmla="*/ 360 h 480"/>
                <a:gd name="T54" fmla="*/ 348 w 396"/>
                <a:gd name="T55" fmla="*/ 366 h 480"/>
                <a:gd name="T56" fmla="*/ 330 w 396"/>
                <a:gd name="T57" fmla="*/ 378 h 480"/>
                <a:gd name="T58" fmla="*/ 312 w 396"/>
                <a:gd name="T59" fmla="*/ 384 h 480"/>
                <a:gd name="T60" fmla="*/ 312 w 396"/>
                <a:gd name="T61" fmla="*/ 396 h 480"/>
                <a:gd name="T62" fmla="*/ 306 w 396"/>
                <a:gd name="T63" fmla="*/ 414 h 480"/>
                <a:gd name="T64" fmla="*/ 306 w 396"/>
                <a:gd name="T65" fmla="*/ 414 h 480"/>
                <a:gd name="T66" fmla="*/ 300 w 396"/>
                <a:gd name="T67" fmla="*/ 426 h 480"/>
                <a:gd name="T68" fmla="*/ 300 w 396"/>
                <a:gd name="T69" fmla="*/ 432 h 480"/>
                <a:gd name="T70" fmla="*/ 294 w 396"/>
                <a:gd name="T71" fmla="*/ 444 h 480"/>
                <a:gd name="T72" fmla="*/ 288 w 396"/>
                <a:gd name="T73" fmla="*/ 450 h 480"/>
                <a:gd name="T74" fmla="*/ 282 w 396"/>
                <a:gd name="T75" fmla="*/ 468 h 480"/>
                <a:gd name="T76" fmla="*/ 276 w 396"/>
                <a:gd name="T77" fmla="*/ 474 h 480"/>
                <a:gd name="T78" fmla="*/ 270 w 396"/>
                <a:gd name="T79" fmla="*/ 480 h 480"/>
                <a:gd name="T80" fmla="*/ 270 w 396"/>
                <a:gd name="T81" fmla="*/ 480 h 480"/>
                <a:gd name="T82" fmla="*/ 204 w 396"/>
                <a:gd name="T83" fmla="*/ 438 h 480"/>
                <a:gd name="T84" fmla="*/ 186 w 396"/>
                <a:gd name="T85" fmla="*/ 420 h 480"/>
                <a:gd name="T86" fmla="*/ 180 w 396"/>
                <a:gd name="T87" fmla="*/ 396 h 480"/>
                <a:gd name="T88" fmla="*/ 96 w 396"/>
                <a:gd name="T89" fmla="*/ 348 h 480"/>
                <a:gd name="T90" fmla="*/ 0 w 396"/>
                <a:gd name="T91" fmla="*/ 300 h 480"/>
                <a:gd name="T92" fmla="*/ 6 w 396"/>
                <a:gd name="T93" fmla="*/ 258 h 480"/>
                <a:gd name="T94" fmla="*/ 12 w 396"/>
                <a:gd name="T95" fmla="*/ 234 h 480"/>
                <a:gd name="T96" fmla="*/ 24 w 396"/>
                <a:gd name="T97" fmla="*/ 216 h 480"/>
                <a:gd name="T98" fmla="*/ 30 w 396"/>
                <a:gd name="T99" fmla="*/ 198 h 480"/>
                <a:gd name="T100" fmla="*/ 42 w 396"/>
                <a:gd name="T101" fmla="*/ 186 h 480"/>
                <a:gd name="T102" fmla="*/ 48 w 396"/>
                <a:gd name="T103" fmla="*/ 180 h 480"/>
                <a:gd name="T104" fmla="*/ 60 w 396"/>
                <a:gd name="T105" fmla="*/ 156 h 480"/>
                <a:gd name="T106" fmla="*/ 54 w 396"/>
                <a:gd name="T107" fmla="*/ 126 h 480"/>
                <a:gd name="T108" fmla="*/ 36 w 396"/>
                <a:gd name="T109" fmla="*/ 108 h 480"/>
                <a:gd name="T110" fmla="*/ 30 w 396"/>
                <a:gd name="T111" fmla="*/ 90 h 480"/>
                <a:gd name="T112" fmla="*/ 30 w 396"/>
                <a:gd name="T113" fmla="*/ 78 h 480"/>
                <a:gd name="T114" fmla="*/ 30 w 396"/>
                <a:gd name="T115" fmla="*/ 66 h 480"/>
                <a:gd name="T116" fmla="*/ 12 w 396"/>
                <a:gd name="T117" fmla="*/ 60 h 480"/>
                <a:gd name="T118" fmla="*/ 18 w 396"/>
                <a:gd name="T119" fmla="*/ 54 h 480"/>
                <a:gd name="T120" fmla="*/ 12 w 396"/>
                <a:gd name="T121" fmla="*/ 42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96"/>
                <a:gd name="T184" fmla="*/ 0 h 480"/>
                <a:gd name="T185" fmla="*/ 396 w 396"/>
                <a:gd name="T186" fmla="*/ 480 h 4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39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3819" y="1825"/>
              <a:ext cx="72" cy="77"/>
            </a:xfrm>
            <a:custGeom>
              <a:avLst/>
              <a:gdLst>
                <a:gd name="T0" fmla="*/ 42 w 84"/>
                <a:gd name="T1" fmla="*/ 12 h 90"/>
                <a:gd name="T2" fmla="*/ 54 w 84"/>
                <a:gd name="T3" fmla="*/ 18 h 90"/>
                <a:gd name="T4" fmla="*/ 54 w 84"/>
                <a:gd name="T5" fmla="*/ 6 h 90"/>
                <a:gd name="T6" fmla="*/ 66 w 84"/>
                <a:gd name="T7" fmla="*/ 6 h 90"/>
                <a:gd name="T8" fmla="*/ 72 w 84"/>
                <a:gd name="T9" fmla="*/ 6 h 90"/>
                <a:gd name="T10" fmla="*/ 78 w 84"/>
                <a:gd name="T11" fmla="*/ 18 h 90"/>
                <a:gd name="T12" fmla="*/ 84 w 84"/>
                <a:gd name="T13" fmla="*/ 24 h 90"/>
                <a:gd name="T14" fmla="*/ 84 w 84"/>
                <a:gd name="T15" fmla="*/ 36 h 90"/>
                <a:gd name="T16" fmla="*/ 78 w 84"/>
                <a:gd name="T17" fmla="*/ 42 h 90"/>
                <a:gd name="T18" fmla="*/ 66 w 84"/>
                <a:gd name="T19" fmla="*/ 42 h 90"/>
                <a:gd name="T20" fmla="*/ 60 w 84"/>
                <a:gd name="T21" fmla="*/ 48 h 90"/>
                <a:gd name="T22" fmla="*/ 54 w 84"/>
                <a:gd name="T23" fmla="*/ 54 h 90"/>
                <a:gd name="T24" fmla="*/ 48 w 84"/>
                <a:gd name="T25" fmla="*/ 60 h 90"/>
                <a:gd name="T26" fmla="*/ 42 w 84"/>
                <a:gd name="T27" fmla="*/ 66 h 90"/>
                <a:gd name="T28" fmla="*/ 48 w 84"/>
                <a:gd name="T29" fmla="*/ 60 h 90"/>
                <a:gd name="T30" fmla="*/ 60 w 84"/>
                <a:gd name="T31" fmla="*/ 60 h 90"/>
                <a:gd name="T32" fmla="*/ 72 w 84"/>
                <a:gd name="T33" fmla="*/ 60 h 90"/>
                <a:gd name="T34" fmla="*/ 72 w 84"/>
                <a:gd name="T35" fmla="*/ 60 h 90"/>
                <a:gd name="T36" fmla="*/ 78 w 84"/>
                <a:gd name="T37" fmla="*/ 66 h 90"/>
                <a:gd name="T38" fmla="*/ 60 w 84"/>
                <a:gd name="T39" fmla="*/ 84 h 90"/>
                <a:gd name="T40" fmla="*/ 54 w 84"/>
                <a:gd name="T41" fmla="*/ 90 h 90"/>
                <a:gd name="T42" fmla="*/ 48 w 84"/>
                <a:gd name="T43" fmla="*/ 84 h 90"/>
                <a:gd name="T44" fmla="*/ 36 w 84"/>
                <a:gd name="T45" fmla="*/ 84 h 90"/>
                <a:gd name="T46" fmla="*/ 30 w 84"/>
                <a:gd name="T47" fmla="*/ 90 h 90"/>
                <a:gd name="T48" fmla="*/ 18 w 84"/>
                <a:gd name="T49" fmla="*/ 90 h 90"/>
                <a:gd name="T50" fmla="*/ 6 w 84"/>
                <a:gd name="T51" fmla="*/ 90 h 90"/>
                <a:gd name="T52" fmla="*/ 6 w 84"/>
                <a:gd name="T53" fmla="*/ 72 h 90"/>
                <a:gd name="T54" fmla="*/ 0 w 84"/>
                <a:gd name="T55" fmla="*/ 60 h 90"/>
                <a:gd name="T56" fmla="*/ 6 w 84"/>
                <a:gd name="T57" fmla="*/ 54 h 90"/>
                <a:gd name="T58" fmla="*/ 12 w 84"/>
                <a:gd name="T59" fmla="*/ 48 h 90"/>
                <a:gd name="T60" fmla="*/ 24 w 84"/>
                <a:gd name="T61" fmla="*/ 36 h 90"/>
                <a:gd name="T62" fmla="*/ 24 w 84"/>
                <a:gd name="T63" fmla="*/ 24 h 90"/>
                <a:gd name="T64" fmla="*/ 30 w 84"/>
                <a:gd name="T65" fmla="*/ 18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4"/>
                <a:gd name="T100" fmla="*/ 0 h 90"/>
                <a:gd name="T101" fmla="*/ 84 w 84"/>
                <a:gd name="T102" fmla="*/ 90 h 9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40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3335" y="2801"/>
              <a:ext cx="443" cy="699"/>
            </a:xfrm>
            <a:custGeom>
              <a:avLst/>
              <a:gdLst>
                <a:gd name="T0" fmla="*/ 300 w 884"/>
                <a:gd name="T1" fmla="*/ 343 h 1393"/>
                <a:gd name="T2" fmla="*/ 359 w 884"/>
                <a:gd name="T3" fmla="*/ 364 h 1393"/>
                <a:gd name="T4" fmla="*/ 354 w 884"/>
                <a:gd name="T5" fmla="*/ 434 h 1393"/>
                <a:gd name="T6" fmla="*/ 364 w 884"/>
                <a:gd name="T7" fmla="*/ 504 h 1393"/>
                <a:gd name="T8" fmla="*/ 413 w 884"/>
                <a:gd name="T9" fmla="*/ 552 h 1393"/>
                <a:gd name="T10" fmla="*/ 413 w 884"/>
                <a:gd name="T11" fmla="*/ 514 h 1393"/>
                <a:gd name="T12" fmla="*/ 461 w 884"/>
                <a:gd name="T13" fmla="*/ 477 h 1393"/>
                <a:gd name="T14" fmla="*/ 359 w 884"/>
                <a:gd name="T15" fmla="*/ 235 h 1393"/>
                <a:gd name="T16" fmla="*/ 434 w 884"/>
                <a:gd name="T17" fmla="*/ 91 h 1393"/>
                <a:gd name="T18" fmla="*/ 493 w 884"/>
                <a:gd name="T19" fmla="*/ 96 h 1393"/>
                <a:gd name="T20" fmla="*/ 568 w 884"/>
                <a:gd name="T21" fmla="*/ 91 h 1393"/>
                <a:gd name="T22" fmla="*/ 638 w 884"/>
                <a:gd name="T23" fmla="*/ 80 h 1393"/>
                <a:gd name="T24" fmla="*/ 702 w 884"/>
                <a:gd name="T25" fmla="*/ 69 h 1393"/>
                <a:gd name="T26" fmla="*/ 788 w 884"/>
                <a:gd name="T27" fmla="*/ 37 h 1393"/>
                <a:gd name="T28" fmla="*/ 857 w 884"/>
                <a:gd name="T29" fmla="*/ 10 h 1393"/>
                <a:gd name="T30" fmla="*/ 857 w 884"/>
                <a:gd name="T31" fmla="*/ 53 h 1393"/>
                <a:gd name="T32" fmla="*/ 847 w 884"/>
                <a:gd name="T33" fmla="*/ 101 h 1393"/>
                <a:gd name="T34" fmla="*/ 857 w 884"/>
                <a:gd name="T35" fmla="*/ 150 h 1393"/>
                <a:gd name="T36" fmla="*/ 852 w 884"/>
                <a:gd name="T37" fmla="*/ 177 h 1393"/>
                <a:gd name="T38" fmla="*/ 852 w 884"/>
                <a:gd name="T39" fmla="*/ 203 h 1393"/>
                <a:gd name="T40" fmla="*/ 863 w 884"/>
                <a:gd name="T41" fmla="*/ 241 h 1393"/>
                <a:gd name="T42" fmla="*/ 868 w 884"/>
                <a:gd name="T43" fmla="*/ 305 h 1393"/>
                <a:gd name="T44" fmla="*/ 863 w 884"/>
                <a:gd name="T45" fmla="*/ 343 h 1393"/>
                <a:gd name="T46" fmla="*/ 879 w 884"/>
                <a:gd name="T47" fmla="*/ 370 h 1393"/>
                <a:gd name="T48" fmla="*/ 868 w 884"/>
                <a:gd name="T49" fmla="*/ 391 h 1393"/>
                <a:gd name="T50" fmla="*/ 857 w 884"/>
                <a:gd name="T51" fmla="*/ 423 h 1393"/>
                <a:gd name="T52" fmla="*/ 820 w 884"/>
                <a:gd name="T53" fmla="*/ 471 h 1393"/>
                <a:gd name="T54" fmla="*/ 799 w 884"/>
                <a:gd name="T55" fmla="*/ 493 h 1393"/>
                <a:gd name="T56" fmla="*/ 782 w 884"/>
                <a:gd name="T57" fmla="*/ 520 h 1393"/>
                <a:gd name="T58" fmla="*/ 702 w 884"/>
                <a:gd name="T59" fmla="*/ 557 h 1393"/>
                <a:gd name="T60" fmla="*/ 659 w 884"/>
                <a:gd name="T61" fmla="*/ 573 h 1393"/>
                <a:gd name="T62" fmla="*/ 606 w 884"/>
                <a:gd name="T63" fmla="*/ 605 h 1393"/>
                <a:gd name="T64" fmla="*/ 552 w 884"/>
                <a:gd name="T65" fmla="*/ 654 h 1393"/>
                <a:gd name="T66" fmla="*/ 525 w 884"/>
                <a:gd name="T67" fmla="*/ 686 h 1393"/>
                <a:gd name="T68" fmla="*/ 493 w 884"/>
                <a:gd name="T69" fmla="*/ 713 h 1393"/>
                <a:gd name="T70" fmla="*/ 450 w 884"/>
                <a:gd name="T71" fmla="*/ 739 h 1393"/>
                <a:gd name="T72" fmla="*/ 429 w 884"/>
                <a:gd name="T73" fmla="*/ 766 h 1393"/>
                <a:gd name="T74" fmla="*/ 391 w 884"/>
                <a:gd name="T75" fmla="*/ 798 h 1393"/>
                <a:gd name="T76" fmla="*/ 380 w 884"/>
                <a:gd name="T77" fmla="*/ 825 h 1393"/>
                <a:gd name="T78" fmla="*/ 364 w 884"/>
                <a:gd name="T79" fmla="*/ 852 h 1393"/>
                <a:gd name="T80" fmla="*/ 386 w 884"/>
                <a:gd name="T81" fmla="*/ 868 h 1393"/>
                <a:gd name="T82" fmla="*/ 402 w 884"/>
                <a:gd name="T83" fmla="*/ 895 h 1393"/>
                <a:gd name="T84" fmla="*/ 407 w 884"/>
                <a:gd name="T85" fmla="*/ 911 h 1393"/>
                <a:gd name="T86" fmla="*/ 423 w 884"/>
                <a:gd name="T87" fmla="*/ 970 h 1393"/>
                <a:gd name="T88" fmla="*/ 445 w 884"/>
                <a:gd name="T89" fmla="*/ 997 h 1393"/>
                <a:gd name="T90" fmla="*/ 439 w 884"/>
                <a:gd name="T91" fmla="*/ 1088 h 1393"/>
                <a:gd name="T92" fmla="*/ 429 w 884"/>
                <a:gd name="T93" fmla="*/ 1141 h 1393"/>
                <a:gd name="T94" fmla="*/ 413 w 884"/>
                <a:gd name="T95" fmla="*/ 1195 h 1393"/>
                <a:gd name="T96" fmla="*/ 273 w 884"/>
                <a:gd name="T97" fmla="*/ 1254 h 1393"/>
                <a:gd name="T98" fmla="*/ 209 w 884"/>
                <a:gd name="T99" fmla="*/ 1308 h 1393"/>
                <a:gd name="T100" fmla="*/ 203 w 884"/>
                <a:gd name="T101" fmla="*/ 1334 h 1393"/>
                <a:gd name="T102" fmla="*/ 220 w 884"/>
                <a:gd name="T103" fmla="*/ 1393 h 1393"/>
                <a:gd name="T104" fmla="*/ 150 w 884"/>
                <a:gd name="T105" fmla="*/ 1292 h 1393"/>
                <a:gd name="T106" fmla="*/ 123 w 884"/>
                <a:gd name="T107" fmla="*/ 1125 h 1393"/>
                <a:gd name="T108" fmla="*/ 193 w 884"/>
                <a:gd name="T109" fmla="*/ 889 h 1393"/>
                <a:gd name="T110" fmla="*/ 236 w 884"/>
                <a:gd name="T111" fmla="*/ 793 h 1393"/>
                <a:gd name="T112" fmla="*/ 209 w 884"/>
                <a:gd name="T113" fmla="*/ 729 h 1393"/>
                <a:gd name="T114" fmla="*/ 230 w 884"/>
                <a:gd name="T115" fmla="*/ 659 h 1393"/>
                <a:gd name="T116" fmla="*/ 230 w 884"/>
                <a:gd name="T117" fmla="*/ 600 h 1393"/>
                <a:gd name="T118" fmla="*/ 182 w 884"/>
                <a:gd name="T119" fmla="*/ 509 h 1393"/>
                <a:gd name="T120" fmla="*/ 80 w 884"/>
                <a:gd name="T121" fmla="*/ 466 h 1393"/>
                <a:gd name="T122" fmla="*/ 5 w 884"/>
                <a:gd name="T123" fmla="*/ 396 h 1393"/>
                <a:gd name="T124" fmla="*/ 198 w 884"/>
                <a:gd name="T125" fmla="*/ 316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84"/>
                <a:gd name="T190" fmla="*/ 0 h 1393"/>
                <a:gd name="T191" fmla="*/ 884 w 884"/>
                <a:gd name="T192" fmla="*/ 1393 h 13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9" name="Group 41"/>
            <p:cNvGrpSpPr>
              <a:grpSpLocks/>
            </p:cNvGrpSpPr>
            <p:nvPr/>
          </p:nvGrpSpPr>
          <p:grpSpPr bwMode="auto">
            <a:xfrm>
              <a:off x="2555" y="2549"/>
              <a:ext cx="520" cy="577"/>
              <a:chOff x="2555" y="2549"/>
              <a:chExt cx="520" cy="577"/>
            </a:xfrm>
            <a:grpFill/>
          </p:grpSpPr>
          <p:sp>
            <p:nvSpPr>
              <p:cNvPr id="168" name="Freeform 4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102 w 612"/>
                  <a:gd name="T1" fmla="*/ 0 h 606"/>
                  <a:gd name="T2" fmla="*/ 144 w 612"/>
                  <a:gd name="T3" fmla="*/ 0 h 606"/>
                  <a:gd name="T4" fmla="*/ 228 w 612"/>
                  <a:gd name="T5" fmla="*/ 0 h 606"/>
                  <a:gd name="T6" fmla="*/ 246 w 612"/>
                  <a:gd name="T7" fmla="*/ 24 h 606"/>
                  <a:gd name="T8" fmla="*/ 258 w 612"/>
                  <a:gd name="T9" fmla="*/ 54 h 606"/>
                  <a:gd name="T10" fmla="*/ 270 w 612"/>
                  <a:gd name="T11" fmla="*/ 84 h 606"/>
                  <a:gd name="T12" fmla="*/ 288 w 612"/>
                  <a:gd name="T13" fmla="*/ 108 h 606"/>
                  <a:gd name="T14" fmla="*/ 312 w 612"/>
                  <a:gd name="T15" fmla="*/ 108 h 606"/>
                  <a:gd name="T16" fmla="*/ 348 w 612"/>
                  <a:gd name="T17" fmla="*/ 108 h 606"/>
                  <a:gd name="T18" fmla="*/ 384 w 612"/>
                  <a:gd name="T19" fmla="*/ 78 h 606"/>
                  <a:gd name="T20" fmla="*/ 426 w 612"/>
                  <a:gd name="T21" fmla="*/ 54 h 606"/>
                  <a:gd name="T22" fmla="*/ 498 w 612"/>
                  <a:gd name="T23" fmla="*/ 78 h 606"/>
                  <a:gd name="T24" fmla="*/ 498 w 612"/>
                  <a:gd name="T25" fmla="*/ 90 h 606"/>
                  <a:gd name="T26" fmla="*/ 504 w 612"/>
                  <a:gd name="T27" fmla="*/ 132 h 606"/>
                  <a:gd name="T28" fmla="*/ 504 w 612"/>
                  <a:gd name="T29" fmla="*/ 168 h 606"/>
                  <a:gd name="T30" fmla="*/ 510 w 612"/>
                  <a:gd name="T31" fmla="*/ 192 h 606"/>
                  <a:gd name="T32" fmla="*/ 522 w 612"/>
                  <a:gd name="T33" fmla="*/ 228 h 606"/>
                  <a:gd name="T34" fmla="*/ 516 w 612"/>
                  <a:gd name="T35" fmla="*/ 252 h 606"/>
                  <a:gd name="T36" fmla="*/ 534 w 612"/>
                  <a:gd name="T37" fmla="*/ 258 h 606"/>
                  <a:gd name="T38" fmla="*/ 564 w 612"/>
                  <a:gd name="T39" fmla="*/ 264 h 606"/>
                  <a:gd name="T40" fmla="*/ 588 w 612"/>
                  <a:gd name="T41" fmla="*/ 258 h 606"/>
                  <a:gd name="T42" fmla="*/ 612 w 612"/>
                  <a:gd name="T43" fmla="*/ 264 h 606"/>
                  <a:gd name="T44" fmla="*/ 612 w 612"/>
                  <a:gd name="T45" fmla="*/ 294 h 606"/>
                  <a:gd name="T46" fmla="*/ 612 w 612"/>
                  <a:gd name="T47" fmla="*/ 330 h 606"/>
                  <a:gd name="T48" fmla="*/ 510 w 612"/>
                  <a:gd name="T49" fmla="*/ 516 h 606"/>
                  <a:gd name="T50" fmla="*/ 540 w 612"/>
                  <a:gd name="T51" fmla="*/ 552 h 606"/>
                  <a:gd name="T52" fmla="*/ 564 w 612"/>
                  <a:gd name="T53" fmla="*/ 576 h 606"/>
                  <a:gd name="T54" fmla="*/ 480 w 612"/>
                  <a:gd name="T55" fmla="*/ 606 h 606"/>
                  <a:gd name="T56" fmla="*/ 444 w 612"/>
                  <a:gd name="T57" fmla="*/ 606 h 606"/>
                  <a:gd name="T58" fmla="*/ 420 w 612"/>
                  <a:gd name="T59" fmla="*/ 600 h 606"/>
                  <a:gd name="T60" fmla="*/ 390 w 612"/>
                  <a:gd name="T61" fmla="*/ 594 h 606"/>
                  <a:gd name="T62" fmla="*/ 384 w 612"/>
                  <a:gd name="T63" fmla="*/ 594 h 606"/>
                  <a:gd name="T64" fmla="*/ 354 w 612"/>
                  <a:gd name="T65" fmla="*/ 594 h 606"/>
                  <a:gd name="T66" fmla="*/ 330 w 612"/>
                  <a:gd name="T67" fmla="*/ 576 h 606"/>
                  <a:gd name="T68" fmla="*/ 108 w 612"/>
                  <a:gd name="T69" fmla="*/ 576 h 606"/>
                  <a:gd name="T70" fmla="*/ 84 w 612"/>
                  <a:gd name="T71" fmla="*/ 558 h 606"/>
                  <a:gd name="T72" fmla="*/ 60 w 612"/>
                  <a:gd name="T73" fmla="*/ 552 h 606"/>
                  <a:gd name="T74" fmla="*/ 36 w 612"/>
                  <a:gd name="T75" fmla="*/ 564 h 606"/>
                  <a:gd name="T76" fmla="*/ 0 w 612"/>
                  <a:gd name="T77" fmla="*/ 570 h 606"/>
                  <a:gd name="T78" fmla="*/ 0 w 612"/>
                  <a:gd name="T79" fmla="*/ 522 h 606"/>
                  <a:gd name="T80" fmla="*/ 6 w 612"/>
                  <a:gd name="T81" fmla="*/ 492 h 606"/>
                  <a:gd name="T82" fmla="*/ 18 w 612"/>
                  <a:gd name="T83" fmla="*/ 456 h 606"/>
                  <a:gd name="T84" fmla="*/ 30 w 612"/>
                  <a:gd name="T85" fmla="*/ 426 h 606"/>
                  <a:gd name="T86" fmla="*/ 30 w 612"/>
                  <a:gd name="T87" fmla="*/ 396 h 606"/>
                  <a:gd name="T88" fmla="*/ 36 w 612"/>
                  <a:gd name="T89" fmla="*/ 384 h 606"/>
                  <a:gd name="T90" fmla="*/ 42 w 612"/>
                  <a:gd name="T91" fmla="*/ 372 h 606"/>
                  <a:gd name="T92" fmla="*/ 66 w 612"/>
                  <a:gd name="T93" fmla="*/ 342 h 606"/>
                  <a:gd name="T94" fmla="*/ 84 w 612"/>
                  <a:gd name="T95" fmla="*/ 330 h 606"/>
                  <a:gd name="T96" fmla="*/ 96 w 612"/>
                  <a:gd name="T97" fmla="*/ 312 h 606"/>
                  <a:gd name="T98" fmla="*/ 102 w 612"/>
                  <a:gd name="T99" fmla="*/ 276 h 606"/>
                  <a:gd name="T100" fmla="*/ 96 w 612"/>
                  <a:gd name="T101" fmla="*/ 240 h 606"/>
                  <a:gd name="T102" fmla="*/ 90 w 612"/>
                  <a:gd name="T103" fmla="*/ 216 h 606"/>
                  <a:gd name="T104" fmla="*/ 72 w 612"/>
                  <a:gd name="T105" fmla="*/ 192 h 606"/>
                  <a:gd name="T106" fmla="*/ 60 w 612"/>
                  <a:gd name="T107" fmla="*/ 156 h 606"/>
                  <a:gd name="T108" fmla="*/ 60 w 612"/>
                  <a:gd name="T109" fmla="*/ 162 h 606"/>
                  <a:gd name="T110" fmla="*/ 84 w 612"/>
                  <a:gd name="T111" fmla="*/ 138 h 606"/>
                  <a:gd name="T112" fmla="*/ 78 w 612"/>
                  <a:gd name="T113" fmla="*/ 120 h 606"/>
                  <a:gd name="T114" fmla="*/ 66 w 612"/>
                  <a:gd name="T115" fmla="*/ 90 h 606"/>
                  <a:gd name="T116" fmla="*/ 54 w 612"/>
                  <a:gd name="T117" fmla="*/ 60 h 606"/>
                  <a:gd name="T118" fmla="*/ 36 w 612"/>
                  <a:gd name="T119" fmla="*/ 30 h 606"/>
                  <a:gd name="T120" fmla="*/ 24 w 612"/>
                  <a:gd name="T121" fmla="*/ 12 h 606"/>
                  <a:gd name="T122" fmla="*/ 54 w 612"/>
                  <a:gd name="T123" fmla="*/ 12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12"/>
                  <a:gd name="T187" fmla="*/ 0 h 606"/>
                  <a:gd name="T188" fmla="*/ 612 w 612"/>
                  <a:gd name="T189" fmla="*/ 606 h 60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9" name="Freeform 4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30 h 66"/>
                  <a:gd name="T2" fmla="*/ 6 w 54"/>
                  <a:gd name="T3" fmla="*/ 24 h 66"/>
                  <a:gd name="T4" fmla="*/ 12 w 54"/>
                  <a:gd name="T5" fmla="*/ 18 h 66"/>
                  <a:gd name="T6" fmla="*/ 18 w 54"/>
                  <a:gd name="T7" fmla="*/ 18 h 66"/>
                  <a:gd name="T8" fmla="*/ 18 w 54"/>
                  <a:gd name="T9" fmla="*/ 12 h 66"/>
                  <a:gd name="T10" fmla="*/ 24 w 54"/>
                  <a:gd name="T11" fmla="*/ 12 h 66"/>
                  <a:gd name="T12" fmla="*/ 30 w 54"/>
                  <a:gd name="T13" fmla="*/ 6 h 66"/>
                  <a:gd name="T14" fmla="*/ 36 w 54"/>
                  <a:gd name="T15" fmla="*/ 6 h 66"/>
                  <a:gd name="T16" fmla="*/ 36 w 54"/>
                  <a:gd name="T17" fmla="*/ 0 h 66"/>
                  <a:gd name="T18" fmla="*/ 42 w 54"/>
                  <a:gd name="T19" fmla="*/ 0 h 66"/>
                  <a:gd name="T20" fmla="*/ 42 w 54"/>
                  <a:gd name="T21" fmla="*/ 6 h 66"/>
                  <a:gd name="T22" fmla="*/ 48 w 54"/>
                  <a:gd name="T23" fmla="*/ 6 h 66"/>
                  <a:gd name="T24" fmla="*/ 48 w 54"/>
                  <a:gd name="T25" fmla="*/ 12 h 66"/>
                  <a:gd name="T26" fmla="*/ 54 w 54"/>
                  <a:gd name="T27" fmla="*/ 12 h 66"/>
                  <a:gd name="T28" fmla="*/ 48 w 54"/>
                  <a:gd name="T29" fmla="*/ 12 h 66"/>
                  <a:gd name="T30" fmla="*/ 48 w 54"/>
                  <a:gd name="T31" fmla="*/ 18 h 66"/>
                  <a:gd name="T32" fmla="*/ 42 w 54"/>
                  <a:gd name="T33" fmla="*/ 18 h 66"/>
                  <a:gd name="T34" fmla="*/ 42 w 54"/>
                  <a:gd name="T35" fmla="*/ 24 h 66"/>
                  <a:gd name="T36" fmla="*/ 36 w 54"/>
                  <a:gd name="T37" fmla="*/ 24 h 66"/>
                  <a:gd name="T38" fmla="*/ 36 w 54"/>
                  <a:gd name="T39" fmla="*/ 30 h 66"/>
                  <a:gd name="T40" fmla="*/ 36 w 54"/>
                  <a:gd name="T41" fmla="*/ 24 h 66"/>
                  <a:gd name="T42" fmla="*/ 36 w 54"/>
                  <a:gd name="T43" fmla="*/ 30 h 66"/>
                  <a:gd name="T44" fmla="*/ 30 w 54"/>
                  <a:gd name="T45" fmla="*/ 30 h 66"/>
                  <a:gd name="T46" fmla="*/ 24 w 54"/>
                  <a:gd name="T47" fmla="*/ 30 h 66"/>
                  <a:gd name="T48" fmla="*/ 24 w 54"/>
                  <a:gd name="T49" fmla="*/ 36 h 66"/>
                  <a:gd name="T50" fmla="*/ 24 w 54"/>
                  <a:gd name="T51" fmla="*/ 42 h 66"/>
                  <a:gd name="T52" fmla="*/ 24 w 54"/>
                  <a:gd name="T53" fmla="*/ 66 h 66"/>
                  <a:gd name="T54" fmla="*/ 12 w 54"/>
                  <a:gd name="T55" fmla="*/ 66 h 66"/>
                  <a:gd name="T56" fmla="*/ 6 w 54"/>
                  <a:gd name="T57" fmla="*/ 66 h 66"/>
                  <a:gd name="T58" fmla="*/ 6 w 54"/>
                  <a:gd name="T59" fmla="*/ 60 h 66"/>
                  <a:gd name="T60" fmla="*/ 6 w 54"/>
                  <a:gd name="T61" fmla="*/ 54 h 66"/>
                  <a:gd name="T62" fmla="*/ 12 w 54"/>
                  <a:gd name="T63" fmla="*/ 54 h 66"/>
                  <a:gd name="T64" fmla="*/ 12 w 54"/>
                  <a:gd name="T65" fmla="*/ 48 h 66"/>
                  <a:gd name="T66" fmla="*/ 6 w 54"/>
                  <a:gd name="T67" fmla="*/ 48 h 66"/>
                  <a:gd name="T68" fmla="*/ 6 w 54"/>
                  <a:gd name="T69" fmla="*/ 42 h 66"/>
                  <a:gd name="T70" fmla="*/ 6 w 54"/>
                  <a:gd name="T71" fmla="*/ 36 h 66"/>
                  <a:gd name="T72" fmla="*/ 0 w 54"/>
                  <a:gd name="T73" fmla="*/ 3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"/>
                  <a:gd name="T112" fmla="*/ 0 h 66"/>
                  <a:gd name="T113" fmla="*/ 54 w 5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0" name="Freeform 44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2988" y="2713"/>
              <a:ext cx="495" cy="413"/>
            </a:xfrm>
            <a:custGeom>
              <a:avLst/>
              <a:gdLst>
                <a:gd name="T0" fmla="*/ 120 w 582"/>
                <a:gd name="T1" fmla="*/ 144 h 486"/>
                <a:gd name="T2" fmla="*/ 126 w 582"/>
                <a:gd name="T3" fmla="*/ 156 h 486"/>
                <a:gd name="T4" fmla="*/ 162 w 582"/>
                <a:gd name="T5" fmla="*/ 144 h 486"/>
                <a:gd name="T6" fmla="*/ 174 w 582"/>
                <a:gd name="T7" fmla="*/ 174 h 486"/>
                <a:gd name="T8" fmla="*/ 210 w 582"/>
                <a:gd name="T9" fmla="*/ 180 h 486"/>
                <a:gd name="T10" fmla="*/ 234 w 582"/>
                <a:gd name="T11" fmla="*/ 186 h 486"/>
                <a:gd name="T12" fmla="*/ 258 w 582"/>
                <a:gd name="T13" fmla="*/ 162 h 486"/>
                <a:gd name="T14" fmla="*/ 270 w 582"/>
                <a:gd name="T15" fmla="*/ 192 h 486"/>
                <a:gd name="T16" fmla="*/ 300 w 582"/>
                <a:gd name="T17" fmla="*/ 210 h 486"/>
                <a:gd name="T18" fmla="*/ 318 w 582"/>
                <a:gd name="T19" fmla="*/ 222 h 486"/>
                <a:gd name="T20" fmla="*/ 342 w 582"/>
                <a:gd name="T21" fmla="*/ 246 h 486"/>
                <a:gd name="T22" fmla="*/ 360 w 582"/>
                <a:gd name="T23" fmla="*/ 258 h 486"/>
                <a:gd name="T24" fmla="*/ 384 w 582"/>
                <a:gd name="T25" fmla="*/ 258 h 486"/>
                <a:gd name="T26" fmla="*/ 366 w 582"/>
                <a:gd name="T27" fmla="*/ 204 h 486"/>
                <a:gd name="T28" fmla="*/ 336 w 582"/>
                <a:gd name="T29" fmla="*/ 192 h 486"/>
                <a:gd name="T30" fmla="*/ 318 w 582"/>
                <a:gd name="T31" fmla="*/ 174 h 486"/>
                <a:gd name="T32" fmla="*/ 318 w 582"/>
                <a:gd name="T33" fmla="*/ 144 h 486"/>
                <a:gd name="T34" fmla="*/ 330 w 582"/>
                <a:gd name="T35" fmla="*/ 114 h 486"/>
                <a:gd name="T36" fmla="*/ 330 w 582"/>
                <a:gd name="T37" fmla="*/ 84 h 486"/>
                <a:gd name="T38" fmla="*/ 324 w 582"/>
                <a:gd name="T39" fmla="*/ 66 h 486"/>
                <a:gd name="T40" fmla="*/ 318 w 582"/>
                <a:gd name="T41" fmla="*/ 48 h 486"/>
                <a:gd name="T42" fmla="*/ 342 w 582"/>
                <a:gd name="T43" fmla="*/ 12 h 486"/>
                <a:gd name="T44" fmla="*/ 432 w 582"/>
                <a:gd name="T45" fmla="*/ 0 h 486"/>
                <a:gd name="T46" fmla="*/ 468 w 582"/>
                <a:gd name="T47" fmla="*/ 18 h 486"/>
                <a:gd name="T48" fmla="*/ 492 w 582"/>
                <a:gd name="T49" fmla="*/ 36 h 486"/>
                <a:gd name="T50" fmla="*/ 522 w 582"/>
                <a:gd name="T51" fmla="*/ 48 h 486"/>
                <a:gd name="T52" fmla="*/ 546 w 582"/>
                <a:gd name="T53" fmla="*/ 66 h 486"/>
                <a:gd name="T54" fmla="*/ 564 w 582"/>
                <a:gd name="T55" fmla="*/ 78 h 486"/>
                <a:gd name="T56" fmla="*/ 576 w 582"/>
                <a:gd name="T57" fmla="*/ 114 h 486"/>
                <a:gd name="T58" fmla="*/ 558 w 582"/>
                <a:gd name="T59" fmla="*/ 132 h 486"/>
                <a:gd name="T60" fmla="*/ 558 w 582"/>
                <a:gd name="T61" fmla="*/ 162 h 486"/>
                <a:gd name="T62" fmla="*/ 558 w 582"/>
                <a:gd name="T63" fmla="*/ 186 h 486"/>
                <a:gd name="T64" fmla="*/ 564 w 582"/>
                <a:gd name="T65" fmla="*/ 210 h 486"/>
                <a:gd name="T66" fmla="*/ 540 w 582"/>
                <a:gd name="T67" fmla="*/ 228 h 486"/>
                <a:gd name="T68" fmla="*/ 540 w 582"/>
                <a:gd name="T69" fmla="*/ 258 h 486"/>
                <a:gd name="T70" fmla="*/ 540 w 582"/>
                <a:gd name="T71" fmla="*/ 270 h 486"/>
                <a:gd name="T72" fmla="*/ 546 w 582"/>
                <a:gd name="T73" fmla="*/ 282 h 486"/>
                <a:gd name="T74" fmla="*/ 492 w 582"/>
                <a:gd name="T75" fmla="*/ 306 h 486"/>
                <a:gd name="T76" fmla="*/ 426 w 582"/>
                <a:gd name="T77" fmla="*/ 324 h 486"/>
                <a:gd name="T78" fmla="*/ 414 w 582"/>
                <a:gd name="T79" fmla="*/ 354 h 486"/>
                <a:gd name="T80" fmla="*/ 384 w 582"/>
                <a:gd name="T81" fmla="*/ 366 h 486"/>
                <a:gd name="T82" fmla="*/ 348 w 582"/>
                <a:gd name="T83" fmla="*/ 378 h 486"/>
                <a:gd name="T84" fmla="*/ 336 w 582"/>
                <a:gd name="T85" fmla="*/ 390 h 486"/>
                <a:gd name="T86" fmla="*/ 330 w 582"/>
                <a:gd name="T87" fmla="*/ 414 h 486"/>
                <a:gd name="T88" fmla="*/ 264 w 582"/>
                <a:gd name="T89" fmla="*/ 462 h 486"/>
                <a:gd name="T90" fmla="*/ 240 w 582"/>
                <a:gd name="T91" fmla="*/ 480 h 486"/>
                <a:gd name="T92" fmla="*/ 210 w 582"/>
                <a:gd name="T93" fmla="*/ 480 h 486"/>
                <a:gd name="T94" fmla="*/ 186 w 582"/>
                <a:gd name="T95" fmla="*/ 474 h 486"/>
                <a:gd name="T96" fmla="*/ 156 w 582"/>
                <a:gd name="T97" fmla="*/ 474 h 486"/>
                <a:gd name="T98" fmla="*/ 132 w 582"/>
                <a:gd name="T99" fmla="*/ 456 h 486"/>
                <a:gd name="T100" fmla="*/ 72 w 582"/>
                <a:gd name="T101" fmla="*/ 468 h 486"/>
                <a:gd name="T102" fmla="*/ 48 w 582"/>
                <a:gd name="T103" fmla="*/ 450 h 486"/>
                <a:gd name="T104" fmla="*/ 18 w 582"/>
                <a:gd name="T105" fmla="*/ 420 h 486"/>
                <a:gd name="T106" fmla="*/ 102 w 582"/>
                <a:gd name="T107" fmla="*/ 234 h 486"/>
                <a:gd name="T108" fmla="*/ 102 w 582"/>
                <a:gd name="T109" fmla="*/ 198 h 486"/>
                <a:gd name="T110" fmla="*/ 96 w 582"/>
                <a:gd name="T111" fmla="*/ 168 h 486"/>
                <a:gd name="T112" fmla="*/ 96 w 582"/>
                <a:gd name="T113" fmla="*/ 138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82"/>
                <a:gd name="T172" fmla="*/ 0 h 486"/>
                <a:gd name="T173" fmla="*/ 582 w 582"/>
                <a:gd name="T174" fmla="*/ 486 h 4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4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3126" y="3024"/>
              <a:ext cx="326" cy="285"/>
            </a:xfrm>
            <a:custGeom>
              <a:avLst/>
              <a:gdLst>
                <a:gd name="T0" fmla="*/ 12 w 384"/>
                <a:gd name="T1" fmla="*/ 114 h 336"/>
                <a:gd name="T2" fmla="*/ 24 w 384"/>
                <a:gd name="T3" fmla="*/ 114 h 336"/>
                <a:gd name="T4" fmla="*/ 36 w 384"/>
                <a:gd name="T5" fmla="*/ 114 h 336"/>
                <a:gd name="T6" fmla="*/ 60 w 384"/>
                <a:gd name="T7" fmla="*/ 114 h 336"/>
                <a:gd name="T8" fmla="*/ 78 w 384"/>
                <a:gd name="T9" fmla="*/ 120 h 336"/>
                <a:gd name="T10" fmla="*/ 84 w 384"/>
                <a:gd name="T11" fmla="*/ 114 h 336"/>
                <a:gd name="T12" fmla="*/ 102 w 384"/>
                <a:gd name="T13" fmla="*/ 96 h 336"/>
                <a:gd name="T14" fmla="*/ 126 w 384"/>
                <a:gd name="T15" fmla="*/ 66 h 336"/>
                <a:gd name="T16" fmla="*/ 174 w 384"/>
                <a:gd name="T17" fmla="*/ 48 h 336"/>
                <a:gd name="T18" fmla="*/ 180 w 384"/>
                <a:gd name="T19" fmla="*/ 30 h 336"/>
                <a:gd name="T20" fmla="*/ 174 w 384"/>
                <a:gd name="T21" fmla="*/ 24 h 336"/>
                <a:gd name="T22" fmla="*/ 186 w 384"/>
                <a:gd name="T23" fmla="*/ 18 h 336"/>
                <a:gd name="T24" fmla="*/ 204 w 384"/>
                <a:gd name="T25" fmla="*/ 6 h 336"/>
                <a:gd name="T26" fmla="*/ 222 w 384"/>
                <a:gd name="T27" fmla="*/ 0 h 336"/>
                <a:gd name="T28" fmla="*/ 246 w 384"/>
                <a:gd name="T29" fmla="*/ 0 h 336"/>
                <a:gd name="T30" fmla="*/ 282 w 384"/>
                <a:gd name="T31" fmla="*/ 24 h 336"/>
                <a:gd name="T32" fmla="*/ 300 w 384"/>
                <a:gd name="T33" fmla="*/ 18 h 336"/>
                <a:gd name="T34" fmla="*/ 318 w 384"/>
                <a:gd name="T35" fmla="*/ 30 h 336"/>
                <a:gd name="T36" fmla="*/ 336 w 384"/>
                <a:gd name="T37" fmla="*/ 42 h 336"/>
                <a:gd name="T38" fmla="*/ 366 w 384"/>
                <a:gd name="T39" fmla="*/ 48 h 336"/>
                <a:gd name="T40" fmla="*/ 384 w 384"/>
                <a:gd name="T41" fmla="*/ 54 h 336"/>
                <a:gd name="T42" fmla="*/ 378 w 384"/>
                <a:gd name="T43" fmla="*/ 66 h 336"/>
                <a:gd name="T44" fmla="*/ 384 w 384"/>
                <a:gd name="T45" fmla="*/ 90 h 336"/>
                <a:gd name="T46" fmla="*/ 384 w 384"/>
                <a:gd name="T47" fmla="*/ 102 h 336"/>
                <a:gd name="T48" fmla="*/ 384 w 384"/>
                <a:gd name="T49" fmla="*/ 114 h 336"/>
                <a:gd name="T50" fmla="*/ 384 w 384"/>
                <a:gd name="T51" fmla="*/ 126 h 336"/>
                <a:gd name="T52" fmla="*/ 378 w 384"/>
                <a:gd name="T53" fmla="*/ 144 h 336"/>
                <a:gd name="T54" fmla="*/ 366 w 384"/>
                <a:gd name="T55" fmla="*/ 156 h 336"/>
                <a:gd name="T56" fmla="*/ 366 w 384"/>
                <a:gd name="T57" fmla="*/ 168 h 336"/>
                <a:gd name="T58" fmla="*/ 378 w 384"/>
                <a:gd name="T59" fmla="*/ 180 h 336"/>
                <a:gd name="T60" fmla="*/ 372 w 384"/>
                <a:gd name="T61" fmla="*/ 192 h 336"/>
                <a:gd name="T62" fmla="*/ 378 w 384"/>
                <a:gd name="T63" fmla="*/ 204 h 336"/>
                <a:gd name="T64" fmla="*/ 378 w 384"/>
                <a:gd name="T65" fmla="*/ 204 h 336"/>
                <a:gd name="T66" fmla="*/ 378 w 384"/>
                <a:gd name="T67" fmla="*/ 222 h 336"/>
                <a:gd name="T68" fmla="*/ 378 w 384"/>
                <a:gd name="T69" fmla="*/ 234 h 336"/>
                <a:gd name="T70" fmla="*/ 360 w 384"/>
                <a:gd name="T71" fmla="*/ 246 h 336"/>
                <a:gd name="T72" fmla="*/ 354 w 384"/>
                <a:gd name="T73" fmla="*/ 270 h 336"/>
                <a:gd name="T74" fmla="*/ 354 w 384"/>
                <a:gd name="T75" fmla="*/ 282 h 336"/>
                <a:gd name="T76" fmla="*/ 300 w 384"/>
                <a:gd name="T77" fmla="*/ 336 h 336"/>
                <a:gd name="T78" fmla="*/ 288 w 384"/>
                <a:gd name="T79" fmla="*/ 336 h 336"/>
                <a:gd name="T80" fmla="*/ 264 w 384"/>
                <a:gd name="T81" fmla="*/ 330 h 336"/>
                <a:gd name="T82" fmla="*/ 246 w 384"/>
                <a:gd name="T83" fmla="*/ 330 h 336"/>
                <a:gd name="T84" fmla="*/ 222 w 384"/>
                <a:gd name="T85" fmla="*/ 324 h 336"/>
                <a:gd name="T86" fmla="*/ 198 w 384"/>
                <a:gd name="T87" fmla="*/ 324 h 336"/>
                <a:gd name="T88" fmla="*/ 186 w 384"/>
                <a:gd name="T89" fmla="*/ 312 h 336"/>
                <a:gd name="T90" fmla="*/ 174 w 384"/>
                <a:gd name="T91" fmla="*/ 300 h 336"/>
                <a:gd name="T92" fmla="*/ 150 w 384"/>
                <a:gd name="T93" fmla="*/ 294 h 336"/>
                <a:gd name="T94" fmla="*/ 138 w 384"/>
                <a:gd name="T95" fmla="*/ 294 h 336"/>
                <a:gd name="T96" fmla="*/ 126 w 384"/>
                <a:gd name="T97" fmla="*/ 282 h 336"/>
                <a:gd name="T98" fmla="*/ 120 w 384"/>
                <a:gd name="T99" fmla="*/ 264 h 336"/>
                <a:gd name="T100" fmla="*/ 120 w 384"/>
                <a:gd name="T101" fmla="*/ 240 h 336"/>
                <a:gd name="T102" fmla="*/ 96 w 384"/>
                <a:gd name="T103" fmla="*/ 240 h 336"/>
                <a:gd name="T104" fmla="*/ 96 w 384"/>
                <a:gd name="T105" fmla="*/ 222 h 336"/>
                <a:gd name="T106" fmla="*/ 78 w 384"/>
                <a:gd name="T107" fmla="*/ 216 h 336"/>
                <a:gd name="T108" fmla="*/ 60 w 384"/>
                <a:gd name="T109" fmla="*/ 204 h 336"/>
                <a:gd name="T110" fmla="*/ 42 w 384"/>
                <a:gd name="T111" fmla="*/ 198 h 336"/>
                <a:gd name="T112" fmla="*/ 36 w 384"/>
                <a:gd name="T113" fmla="*/ 174 h 336"/>
                <a:gd name="T114" fmla="*/ 24 w 384"/>
                <a:gd name="T115" fmla="*/ 156 h 336"/>
                <a:gd name="T116" fmla="*/ 12 w 384"/>
                <a:gd name="T117" fmla="*/ 138 h 336"/>
                <a:gd name="T118" fmla="*/ 6 w 384"/>
                <a:gd name="T119" fmla="*/ 120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336"/>
                <a:gd name="T182" fmla="*/ 384 w 384"/>
                <a:gd name="T183" fmla="*/ 336 h 3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46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2901" y="3115"/>
              <a:ext cx="398" cy="383"/>
            </a:xfrm>
            <a:custGeom>
              <a:avLst/>
              <a:gdLst>
                <a:gd name="T0" fmla="*/ 270 w 468"/>
                <a:gd name="T1" fmla="*/ 18 h 450"/>
                <a:gd name="T2" fmla="*/ 282 w 468"/>
                <a:gd name="T3" fmla="*/ 42 h 450"/>
                <a:gd name="T4" fmla="*/ 300 w 468"/>
                <a:gd name="T5" fmla="*/ 60 h 450"/>
                <a:gd name="T6" fmla="*/ 306 w 468"/>
                <a:gd name="T7" fmla="*/ 90 h 450"/>
                <a:gd name="T8" fmla="*/ 330 w 468"/>
                <a:gd name="T9" fmla="*/ 102 h 450"/>
                <a:gd name="T10" fmla="*/ 354 w 468"/>
                <a:gd name="T11" fmla="*/ 108 h 450"/>
                <a:gd name="T12" fmla="*/ 366 w 468"/>
                <a:gd name="T13" fmla="*/ 132 h 450"/>
                <a:gd name="T14" fmla="*/ 384 w 468"/>
                <a:gd name="T15" fmla="*/ 132 h 450"/>
                <a:gd name="T16" fmla="*/ 384 w 468"/>
                <a:gd name="T17" fmla="*/ 162 h 450"/>
                <a:gd name="T18" fmla="*/ 396 w 468"/>
                <a:gd name="T19" fmla="*/ 180 h 450"/>
                <a:gd name="T20" fmla="*/ 414 w 468"/>
                <a:gd name="T21" fmla="*/ 192 h 450"/>
                <a:gd name="T22" fmla="*/ 438 w 468"/>
                <a:gd name="T23" fmla="*/ 192 h 450"/>
                <a:gd name="T24" fmla="*/ 450 w 468"/>
                <a:gd name="T25" fmla="*/ 210 h 450"/>
                <a:gd name="T26" fmla="*/ 462 w 468"/>
                <a:gd name="T27" fmla="*/ 216 h 450"/>
                <a:gd name="T28" fmla="*/ 444 w 468"/>
                <a:gd name="T29" fmla="*/ 228 h 450"/>
                <a:gd name="T30" fmla="*/ 426 w 468"/>
                <a:gd name="T31" fmla="*/ 234 h 450"/>
                <a:gd name="T32" fmla="*/ 408 w 468"/>
                <a:gd name="T33" fmla="*/ 240 h 450"/>
                <a:gd name="T34" fmla="*/ 396 w 468"/>
                <a:gd name="T35" fmla="*/ 264 h 450"/>
                <a:gd name="T36" fmla="*/ 378 w 468"/>
                <a:gd name="T37" fmla="*/ 270 h 450"/>
                <a:gd name="T38" fmla="*/ 366 w 468"/>
                <a:gd name="T39" fmla="*/ 276 h 450"/>
                <a:gd name="T40" fmla="*/ 366 w 468"/>
                <a:gd name="T41" fmla="*/ 282 h 450"/>
                <a:gd name="T42" fmla="*/ 348 w 468"/>
                <a:gd name="T43" fmla="*/ 294 h 450"/>
                <a:gd name="T44" fmla="*/ 342 w 468"/>
                <a:gd name="T45" fmla="*/ 306 h 450"/>
                <a:gd name="T46" fmla="*/ 330 w 468"/>
                <a:gd name="T47" fmla="*/ 324 h 450"/>
                <a:gd name="T48" fmla="*/ 324 w 468"/>
                <a:gd name="T49" fmla="*/ 336 h 450"/>
                <a:gd name="T50" fmla="*/ 294 w 468"/>
                <a:gd name="T51" fmla="*/ 342 h 450"/>
                <a:gd name="T52" fmla="*/ 282 w 468"/>
                <a:gd name="T53" fmla="*/ 378 h 450"/>
                <a:gd name="T54" fmla="*/ 264 w 468"/>
                <a:gd name="T55" fmla="*/ 396 h 450"/>
                <a:gd name="T56" fmla="*/ 234 w 468"/>
                <a:gd name="T57" fmla="*/ 396 h 450"/>
                <a:gd name="T58" fmla="*/ 216 w 468"/>
                <a:gd name="T59" fmla="*/ 396 h 450"/>
                <a:gd name="T60" fmla="*/ 192 w 468"/>
                <a:gd name="T61" fmla="*/ 384 h 450"/>
                <a:gd name="T62" fmla="*/ 168 w 468"/>
                <a:gd name="T63" fmla="*/ 372 h 450"/>
                <a:gd name="T64" fmla="*/ 150 w 468"/>
                <a:gd name="T65" fmla="*/ 372 h 450"/>
                <a:gd name="T66" fmla="*/ 138 w 468"/>
                <a:gd name="T67" fmla="*/ 390 h 450"/>
                <a:gd name="T68" fmla="*/ 132 w 468"/>
                <a:gd name="T69" fmla="*/ 408 h 450"/>
                <a:gd name="T70" fmla="*/ 114 w 468"/>
                <a:gd name="T71" fmla="*/ 426 h 450"/>
                <a:gd name="T72" fmla="*/ 96 w 468"/>
                <a:gd name="T73" fmla="*/ 438 h 450"/>
                <a:gd name="T74" fmla="*/ 78 w 468"/>
                <a:gd name="T75" fmla="*/ 450 h 450"/>
                <a:gd name="T76" fmla="*/ 48 w 468"/>
                <a:gd name="T77" fmla="*/ 450 h 450"/>
                <a:gd name="T78" fmla="*/ 30 w 468"/>
                <a:gd name="T79" fmla="*/ 438 h 450"/>
                <a:gd name="T80" fmla="*/ 42 w 468"/>
                <a:gd name="T81" fmla="*/ 420 h 450"/>
                <a:gd name="T82" fmla="*/ 36 w 468"/>
                <a:gd name="T83" fmla="*/ 396 h 450"/>
                <a:gd name="T84" fmla="*/ 30 w 468"/>
                <a:gd name="T85" fmla="*/ 378 h 450"/>
                <a:gd name="T86" fmla="*/ 24 w 468"/>
                <a:gd name="T87" fmla="*/ 366 h 450"/>
                <a:gd name="T88" fmla="*/ 6 w 468"/>
                <a:gd name="T89" fmla="*/ 354 h 450"/>
                <a:gd name="T90" fmla="*/ 48 w 468"/>
                <a:gd name="T91" fmla="*/ 156 h 450"/>
                <a:gd name="T92" fmla="*/ 168 w 468"/>
                <a:gd name="T93" fmla="*/ 12 h 450"/>
                <a:gd name="T94" fmla="*/ 180 w 468"/>
                <a:gd name="T95" fmla="*/ 30 h 450"/>
                <a:gd name="T96" fmla="*/ 198 w 468"/>
                <a:gd name="T97" fmla="*/ 24 h 450"/>
                <a:gd name="T98" fmla="*/ 216 w 468"/>
                <a:gd name="T99" fmla="*/ 12 h 450"/>
                <a:gd name="T100" fmla="*/ 234 w 468"/>
                <a:gd name="T101" fmla="*/ 6 h 450"/>
                <a:gd name="T102" fmla="*/ 258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68"/>
                <a:gd name="T157" fmla="*/ 0 h 450"/>
                <a:gd name="T158" fmla="*/ 468 w 468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47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2753" y="3299"/>
              <a:ext cx="694" cy="535"/>
            </a:xfrm>
            <a:custGeom>
              <a:avLst/>
              <a:gdLst>
                <a:gd name="T0" fmla="*/ 18 w 816"/>
                <a:gd name="T1" fmla="*/ 300 h 630"/>
                <a:gd name="T2" fmla="*/ 42 w 816"/>
                <a:gd name="T3" fmla="*/ 312 h 630"/>
                <a:gd name="T4" fmla="*/ 78 w 816"/>
                <a:gd name="T5" fmla="*/ 336 h 630"/>
                <a:gd name="T6" fmla="*/ 132 w 816"/>
                <a:gd name="T7" fmla="*/ 336 h 630"/>
                <a:gd name="T8" fmla="*/ 162 w 816"/>
                <a:gd name="T9" fmla="*/ 318 h 630"/>
                <a:gd name="T10" fmla="*/ 198 w 816"/>
                <a:gd name="T11" fmla="*/ 144 h 630"/>
                <a:gd name="T12" fmla="*/ 210 w 816"/>
                <a:gd name="T13" fmla="*/ 174 h 630"/>
                <a:gd name="T14" fmla="*/ 204 w 816"/>
                <a:gd name="T15" fmla="*/ 216 h 630"/>
                <a:gd name="T16" fmla="*/ 246 w 816"/>
                <a:gd name="T17" fmla="*/ 234 h 630"/>
                <a:gd name="T18" fmla="*/ 282 w 816"/>
                <a:gd name="T19" fmla="*/ 210 h 630"/>
                <a:gd name="T20" fmla="*/ 318 w 816"/>
                <a:gd name="T21" fmla="*/ 174 h 630"/>
                <a:gd name="T22" fmla="*/ 336 w 816"/>
                <a:gd name="T23" fmla="*/ 156 h 630"/>
                <a:gd name="T24" fmla="*/ 390 w 816"/>
                <a:gd name="T25" fmla="*/ 174 h 630"/>
                <a:gd name="T26" fmla="*/ 432 w 816"/>
                <a:gd name="T27" fmla="*/ 180 h 630"/>
                <a:gd name="T28" fmla="*/ 468 w 816"/>
                <a:gd name="T29" fmla="*/ 132 h 630"/>
                <a:gd name="T30" fmla="*/ 504 w 816"/>
                <a:gd name="T31" fmla="*/ 114 h 630"/>
                <a:gd name="T32" fmla="*/ 522 w 816"/>
                <a:gd name="T33" fmla="*/ 72 h 630"/>
                <a:gd name="T34" fmla="*/ 546 w 816"/>
                <a:gd name="T35" fmla="*/ 60 h 630"/>
                <a:gd name="T36" fmla="*/ 564 w 816"/>
                <a:gd name="T37" fmla="*/ 48 h 630"/>
                <a:gd name="T38" fmla="*/ 600 w 816"/>
                <a:gd name="T39" fmla="*/ 24 h 630"/>
                <a:gd name="T40" fmla="*/ 630 w 816"/>
                <a:gd name="T41" fmla="*/ 0 h 630"/>
                <a:gd name="T42" fmla="*/ 684 w 816"/>
                <a:gd name="T43" fmla="*/ 12 h 630"/>
                <a:gd name="T44" fmla="*/ 732 w 816"/>
                <a:gd name="T45" fmla="*/ 12 h 630"/>
                <a:gd name="T46" fmla="*/ 768 w 816"/>
                <a:gd name="T47" fmla="*/ 102 h 630"/>
                <a:gd name="T48" fmla="*/ 768 w 816"/>
                <a:gd name="T49" fmla="*/ 168 h 630"/>
                <a:gd name="T50" fmla="*/ 744 w 816"/>
                <a:gd name="T51" fmla="*/ 180 h 630"/>
                <a:gd name="T52" fmla="*/ 714 w 816"/>
                <a:gd name="T53" fmla="*/ 228 h 630"/>
                <a:gd name="T54" fmla="*/ 750 w 816"/>
                <a:gd name="T55" fmla="*/ 258 h 630"/>
                <a:gd name="T56" fmla="*/ 816 w 816"/>
                <a:gd name="T57" fmla="*/ 240 h 630"/>
                <a:gd name="T58" fmla="*/ 798 w 816"/>
                <a:gd name="T59" fmla="*/ 300 h 630"/>
                <a:gd name="T60" fmla="*/ 762 w 816"/>
                <a:gd name="T61" fmla="*/ 336 h 630"/>
                <a:gd name="T62" fmla="*/ 720 w 816"/>
                <a:gd name="T63" fmla="*/ 378 h 630"/>
                <a:gd name="T64" fmla="*/ 702 w 816"/>
                <a:gd name="T65" fmla="*/ 414 h 630"/>
                <a:gd name="T66" fmla="*/ 672 w 816"/>
                <a:gd name="T67" fmla="*/ 456 h 630"/>
                <a:gd name="T68" fmla="*/ 636 w 816"/>
                <a:gd name="T69" fmla="*/ 486 h 630"/>
                <a:gd name="T70" fmla="*/ 612 w 816"/>
                <a:gd name="T71" fmla="*/ 510 h 630"/>
                <a:gd name="T72" fmla="*/ 582 w 816"/>
                <a:gd name="T73" fmla="*/ 528 h 630"/>
                <a:gd name="T74" fmla="*/ 540 w 816"/>
                <a:gd name="T75" fmla="*/ 558 h 630"/>
                <a:gd name="T76" fmla="*/ 504 w 816"/>
                <a:gd name="T77" fmla="*/ 570 h 630"/>
                <a:gd name="T78" fmla="*/ 456 w 816"/>
                <a:gd name="T79" fmla="*/ 582 h 630"/>
                <a:gd name="T80" fmla="*/ 420 w 816"/>
                <a:gd name="T81" fmla="*/ 594 h 630"/>
                <a:gd name="T82" fmla="*/ 378 w 816"/>
                <a:gd name="T83" fmla="*/ 588 h 630"/>
                <a:gd name="T84" fmla="*/ 324 w 816"/>
                <a:gd name="T85" fmla="*/ 594 h 630"/>
                <a:gd name="T86" fmla="*/ 312 w 816"/>
                <a:gd name="T87" fmla="*/ 588 h 630"/>
                <a:gd name="T88" fmla="*/ 264 w 816"/>
                <a:gd name="T89" fmla="*/ 606 h 630"/>
                <a:gd name="T90" fmla="*/ 234 w 816"/>
                <a:gd name="T91" fmla="*/ 606 h 630"/>
                <a:gd name="T92" fmla="*/ 198 w 816"/>
                <a:gd name="T93" fmla="*/ 618 h 630"/>
                <a:gd name="T94" fmla="*/ 156 w 816"/>
                <a:gd name="T95" fmla="*/ 630 h 630"/>
                <a:gd name="T96" fmla="*/ 126 w 816"/>
                <a:gd name="T97" fmla="*/ 606 h 630"/>
                <a:gd name="T98" fmla="*/ 108 w 816"/>
                <a:gd name="T99" fmla="*/ 594 h 630"/>
                <a:gd name="T100" fmla="*/ 96 w 816"/>
                <a:gd name="T101" fmla="*/ 600 h 630"/>
                <a:gd name="T102" fmla="*/ 96 w 816"/>
                <a:gd name="T103" fmla="*/ 582 h 630"/>
                <a:gd name="T104" fmla="*/ 78 w 816"/>
                <a:gd name="T105" fmla="*/ 546 h 630"/>
                <a:gd name="T106" fmla="*/ 66 w 816"/>
                <a:gd name="T107" fmla="*/ 534 h 630"/>
                <a:gd name="T108" fmla="*/ 78 w 816"/>
                <a:gd name="T109" fmla="*/ 528 h 630"/>
                <a:gd name="T110" fmla="*/ 90 w 816"/>
                <a:gd name="T111" fmla="*/ 480 h 630"/>
                <a:gd name="T112" fmla="*/ 60 w 816"/>
                <a:gd name="T113" fmla="*/ 438 h 630"/>
                <a:gd name="T114" fmla="*/ 36 w 816"/>
                <a:gd name="T115" fmla="*/ 396 h 630"/>
                <a:gd name="T116" fmla="*/ 18 w 816"/>
                <a:gd name="T117" fmla="*/ 342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16"/>
                <a:gd name="T178" fmla="*/ 0 h 630"/>
                <a:gd name="T179" fmla="*/ 816 w 816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48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3197" y="3569"/>
              <a:ext cx="107" cy="87"/>
            </a:xfrm>
            <a:custGeom>
              <a:avLst/>
              <a:gdLst>
                <a:gd name="T0" fmla="*/ 108 w 126"/>
                <a:gd name="T1" fmla="*/ 72 h 102"/>
                <a:gd name="T2" fmla="*/ 108 w 126"/>
                <a:gd name="T3" fmla="*/ 60 h 102"/>
                <a:gd name="T4" fmla="*/ 114 w 126"/>
                <a:gd name="T5" fmla="*/ 54 h 102"/>
                <a:gd name="T6" fmla="*/ 120 w 126"/>
                <a:gd name="T7" fmla="*/ 42 h 102"/>
                <a:gd name="T8" fmla="*/ 126 w 126"/>
                <a:gd name="T9" fmla="*/ 36 h 102"/>
                <a:gd name="T10" fmla="*/ 120 w 126"/>
                <a:gd name="T11" fmla="*/ 30 h 102"/>
                <a:gd name="T12" fmla="*/ 108 w 126"/>
                <a:gd name="T13" fmla="*/ 24 h 102"/>
                <a:gd name="T14" fmla="*/ 96 w 126"/>
                <a:gd name="T15" fmla="*/ 18 h 102"/>
                <a:gd name="T16" fmla="*/ 90 w 126"/>
                <a:gd name="T17" fmla="*/ 12 h 102"/>
                <a:gd name="T18" fmla="*/ 84 w 126"/>
                <a:gd name="T19" fmla="*/ 6 h 102"/>
                <a:gd name="T20" fmla="*/ 78 w 126"/>
                <a:gd name="T21" fmla="*/ 0 h 102"/>
                <a:gd name="T22" fmla="*/ 72 w 126"/>
                <a:gd name="T23" fmla="*/ 6 h 102"/>
                <a:gd name="T24" fmla="*/ 72 w 126"/>
                <a:gd name="T25" fmla="*/ 6 h 102"/>
                <a:gd name="T26" fmla="*/ 60 w 126"/>
                <a:gd name="T27" fmla="*/ 6 h 102"/>
                <a:gd name="T28" fmla="*/ 54 w 126"/>
                <a:gd name="T29" fmla="*/ 12 h 102"/>
                <a:gd name="T30" fmla="*/ 48 w 126"/>
                <a:gd name="T31" fmla="*/ 18 h 102"/>
                <a:gd name="T32" fmla="*/ 48 w 126"/>
                <a:gd name="T33" fmla="*/ 18 h 102"/>
                <a:gd name="T34" fmla="*/ 36 w 126"/>
                <a:gd name="T35" fmla="*/ 18 h 102"/>
                <a:gd name="T36" fmla="*/ 36 w 126"/>
                <a:gd name="T37" fmla="*/ 18 h 102"/>
                <a:gd name="T38" fmla="*/ 36 w 126"/>
                <a:gd name="T39" fmla="*/ 30 h 102"/>
                <a:gd name="T40" fmla="*/ 30 w 126"/>
                <a:gd name="T41" fmla="*/ 36 h 102"/>
                <a:gd name="T42" fmla="*/ 24 w 126"/>
                <a:gd name="T43" fmla="*/ 42 h 102"/>
                <a:gd name="T44" fmla="*/ 18 w 126"/>
                <a:gd name="T45" fmla="*/ 48 h 102"/>
                <a:gd name="T46" fmla="*/ 6 w 126"/>
                <a:gd name="T47" fmla="*/ 48 h 102"/>
                <a:gd name="T48" fmla="*/ 0 w 126"/>
                <a:gd name="T49" fmla="*/ 54 h 102"/>
                <a:gd name="T50" fmla="*/ 6 w 126"/>
                <a:gd name="T51" fmla="*/ 60 h 102"/>
                <a:gd name="T52" fmla="*/ 18 w 126"/>
                <a:gd name="T53" fmla="*/ 78 h 102"/>
                <a:gd name="T54" fmla="*/ 18 w 126"/>
                <a:gd name="T55" fmla="*/ 78 h 102"/>
                <a:gd name="T56" fmla="*/ 24 w 126"/>
                <a:gd name="T57" fmla="*/ 84 h 102"/>
                <a:gd name="T58" fmla="*/ 18 w 126"/>
                <a:gd name="T59" fmla="*/ 90 h 102"/>
                <a:gd name="T60" fmla="*/ 30 w 126"/>
                <a:gd name="T61" fmla="*/ 90 h 102"/>
                <a:gd name="T62" fmla="*/ 36 w 126"/>
                <a:gd name="T63" fmla="*/ 96 h 102"/>
                <a:gd name="T64" fmla="*/ 42 w 126"/>
                <a:gd name="T65" fmla="*/ 102 h 102"/>
                <a:gd name="T66" fmla="*/ 54 w 126"/>
                <a:gd name="T67" fmla="*/ 102 h 102"/>
                <a:gd name="T68" fmla="*/ 60 w 126"/>
                <a:gd name="T69" fmla="*/ 96 h 102"/>
                <a:gd name="T70" fmla="*/ 66 w 126"/>
                <a:gd name="T71" fmla="*/ 90 h 102"/>
                <a:gd name="T72" fmla="*/ 66 w 126"/>
                <a:gd name="T73" fmla="*/ 84 h 102"/>
                <a:gd name="T74" fmla="*/ 78 w 126"/>
                <a:gd name="T75" fmla="*/ 78 h 102"/>
                <a:gd name="T76" fmla="*/ 90 w 126"/>
                <a:gd name="T77" fmla="*/ 78 h 102"/>
                <a:gd name="T78" fmla="*/ 96 w 126"/>
                <a:gd name="T79" fmla="*/ 72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6"/>
                <a:gd name="T121" fmla="*/ 0 h 102"/>
                <a:gd name="T122" fmla="*/ 126 w 126"/>
                <a:gd name="T123" fmla="*/ 102 h 10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49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2555" y="3080"/>
              <a:ext cx="571" cy="505"/>
            </a:xfrm>
            <a:custGeom>
              <a:avLst/>
              <a:gdLst>
                <a:gd name="T0" fmla="*/ 12 w 672"/>
                <a:gd name="T1" fmla="*/ 12 h 594"/>
                <a:gd name="T2" fmla="*/ 36 w 672"/>
                <a:gd name="T3" fmla="*/ 18 h 594"/>
                <a:gd name="T4" fmla="*/ 54 w 672"/>
                <a:gd name="T5" fmla="*/ 6 h 594"/>
                <a:gd name="T6" fmla="*/ 84 w 672"/>
                <a:gd name="T7" fmla="*/ 0 h 594"/>
                <a:gd name="T8" fmla="*/ 90 w 672"/>
                <a:gd name="T9" fmla="*/ 12 h 594"/>
                <a:gd name="T10" fmla="*/ 108 w 672"/>
                <a:gd name="T11" fmla="*/ 24 h 594"/>
                <a:gd name="T12" fmla="*/ 258 w 672"/>
                <a:gd name="T13" fmla="*/ 24 h 594"/>
                <a:gd name="T14" fmla="*/ 342 w 672"/>
                <a:gd name="T15" fmla="*/ 30 h 594"/>
                <a:gd name="T16" fmla="*/ 360 w 672"/>
                <a:gd name="T17" fmla="*/ 42 h 594"/>
                <a:gd name="T18" fmla="*/ 384 w 672"/>
                <a:gd name="T19" fmla="*/ 48 h 594"/>
                <a:gd name="T20" fmla="*/ 384 w 672"/>
                <a:gd name="T21" fmla="*/ 42 h 594"/>
                <a:gd name="T22" fmla="*/ 396 w 672"/>
                <a:gd name="T23" fmla="*/ 48 h 594"/>
                <a:gd name="T24" fmla="*/ 420 w 672"/>
                <a:gd name="T25" fmla="*/ 48 h 594"/>
                <a:gd name="T26" fmla="*/ 438 w 672"/>
                <a:gd name="T27" fmla="*/ 48 h 594"/>
                <a:gd name="T28" fmla="*/ 456 w 672"/>
                <a:gd name="T29" fmla="*/ 48 h 594"/>
                <a:gd name="T30" fmla="*/ 552 w 672"/>
                <a:gd name="T31" fmla="*/ 36 h 594"/>
                <a:gd name="T32" fmla="*/ 630 w 672"/>
                <a:gd name="T33" fmla="*/ 30 h 594"/>
                <a:gd name="T34" fmla="*/ 648 w 672"/>
                <a:gd name="T35" fmla="*/ 30 h 594"/>
                <a:gd name="T36" fmla="*/ 666 w 672"/>
                <a:gd name="T37" fmla="*/ 42 h 594"/>
                <a:gd name="T38" fmla="*/ 648 w 672"/>
                <a:gd name="T39" fmla="*/ 42 h 594"/>
                <a:gd name="T40" fmla="*/ 630 w 672"/>
                <a:gd name="T41" fmla="*/ 48 h 594"/>
                <a:gd name="T42" fmla="*/ 612 w 672"/>
                <a:gd name="T43" fmla="*/ 60 h 594"/>
                <a:gd name="T44" fmla="*/ 594 w 672"/>
                <a:gd name="T45" fmla="*/ 72 h 594"/>
                <a:gd name="T46" fmla="*/ 582 w 672"/>
                <a:gd name="T47" fmla="*/ 60 h 594"/>
                <a:gd name="T48" fmla="*/ 480 w 672"/>
                <a:gd name="T49" fmla="*/ 66 h 594"/>
                <a:gd name="T50" fmla="*/ 408 w 672"/>
                <a:gd name="T51" fmla="*/ 390 h 594"/>
                <a:gd name="T52" fmla="*/ 396 w 672"/>
                <a:gd name="T53" fmla="*/ 570 h 594"/>
                <a:gd name="T54" fmla="*/ 378 w 672"/>
                <a:gd name="T55" fmla="*/ 588 h 594"/>
                <a:gd name="T56" fmla="*/ 360 w 672"/>
                <a:gd name="T57" fmla="*/ 594 h 594"/>
                <a:gd name="T58" fmla="*/ 336 w 672"/>
                <a:gd name="T59" fmla="*/ 594 h 594"/>
                <a:gd name="T60" fmla="*/ 312 w 672"/>
                <a:gd name="T61" fmla="*/ 588 h 594"/>
                <a:gd name="T62" fmla="*/ 288 w 672"/>
                <a:gd name="T63" fmla="*/ 582 h 594"/>
                <a:gd name="T64" fmla="*/ 282 w 672"/>
                <a:gd name="T65" fmla="*/ 570 h 594"/>
                <a:gd name="T66" fmla="*/ 270 w 672"/>
                <a:gd name="T67" fmla="*/ 552 h 594"/>
                <a:gd name="T68" fmla="*/ 252 w 672"/>
                <a:gd name="T69" fmla="*/ 564 h 594"/>
                <a:gd name="T70" fmla="*/ 246 w 672"/>
                <a:gd name="T71" fmla="*/ 570 h 594"/>
                <a:gd name="T72" fmla="*/ 228 w 672"/>
                <a:gd name="T73" fmla="*/ 576 h 594"/>
                <a:gd name="T74" fmla="*/ 210 w 672"/>
                <a:gd name="T75" fmla="*/ 558 h 594"/>
                <a:gd name="T76" fmla="*/ 192 w 672"/>
                <a:gd name="T77" fmla="*/ 540 h 594"/>
                <a:gd name="T78" fmla="*/ 174 w 672"/>
                <a:gd name="T79" fmla="*/ 516 h 594"/>
                <a:gd name="T80" fmla="*/ 168 w 672"/>
                <a:gd name="T81" fmla="*/ 492 h 594"/>
                <a:gd name="T82" fmla="*/ 162 w 672"/>
                <a:gd name="T83" fmla="*/ 480 h 594"/>
                <a:gd name="T84" fmla="*/ 168 w 672"/>
                <a:gd name="T85" fmla="*/ 468 h 594"/>
                <a:gd name="T86" fmla="*/ 162 w 672"/>
                <a:gd name="T87" fmla="*/ 456 h 594"/>
                <a:gd name="T88" fmla="*/ 150 w 672"/>
                <a:gd name="T89" fmla="*/ 438 h 594"/>
                <a:gd name="T90" fmla="*/ 150 w 672"/>
                <a:gd name="T91" fmla="*/ 420 h 594"/>
                <a:gd name="T92" fmla="*/ 150 w 672"/>
                <a:gd name="T93" fmla="*/ 402 h 594"/>
                <a:gd name="T94" fmla="*/ 144 w 672"/>
                <a:gd name="T95" fmla="*/ 378 h 594"/>
                <a:gd name="T96" fmla="*/ 132 w 672"/>
                <a:gd name="T97" fmla="*/ 354 h 594"/>
                <a:gd name="T98" fmla="*/ 138 w 672"/>
                <a:gd name="T99" fmla="*/ 330 h 594"/>
                <a:gd name="T100" fmla="*/ 138 w 672"/>
                <a:gd name="T101" fmla="*/ 312 h 594"/>
                <a:gd name="T102" fmla="*/ 138 w 672"/>
                <a:gd name="T103" fmla="*/ 300 h 594"/>
                <a:gd name="T104" fmla="*/ 132 w 672"/>
                <a:gd name="T105" fmla="*/ 270 h 594"/>
                <a:gd name="T106" fmla="*/ 114 w 672"/>
                <a:gd name="T107" fmla="*/ 246 h 594"/>
                <a:gd name="T108" fmla="*/ 102 w 672"/>
                <a:gd name="T109" fmla="*/ 228 h 594"/>
                <a:gd name="T110" fmla="*/ 90 w 672"/>
                <a:gd name="T111" fmla="*/ 204 h 594"/>
                <a:gd name="T112" fmla="*/ 78 w 672"/>
                <a:gd name="T113" fmla="*/ 186 h 594"/>
                <a:gd name="T114" fmla="*/ 66 w 672"/>
                <a:gd name="T115" fmla="*/ 156 h 594"/>
                <a:gd name="T116" fmla="*/ 54 w 672"/>
                <a:gd name="T117" fmla="*/ 132 h 594"/>
                <a:gd name="T118" fmla="*/ 36 w 672"/>
                <a:gd name="T119" fmla="*/ 96 h 594"/>
                <a:gd name="T120" fmla="*/ 12 w 672"/>
                <a:gd name="T121" fmla="*/ 78 h 594"/>
                <a:gd name="T122" fmla="*/ 0 w 672"/>
                <a:gd name="T123" fmla="*/ 48 h 594"/>
                <a:gd name="T124" fmla="*/ 0 w 672"/>
                <a:gd name="T125" fmla="*/ 18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2"/>
                <a:gd name="T190" fmla="*/ 0 h 594"/>
                <a:gd name="T191" fmla="*/ 672 w 672"/>
                <a:gd name="T192" fmla="*/ 594 h 59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50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3360" y="3452"/>
              <a:ext cx="56" cy="66"/>
            </a:xfrm>
            <a:custGeom>
              <a:avLst/>
              <a:gdLst>
                <a:gd name="T0" fmla="*/ 54 w 66"/>
                <a:gd name="T1" fmla="*/ 6 h 78"/>
                <a:gd name="T2" fmla="*/ 60 w 66"/>
                <a:gd name="T3" fmla="*/ 12 h 78"/>
                <a:gd name="T4" fmla="*/ 60 w 66"/>
                <a:gd name="T5" fmla="*/ 18 h 78"/>
                <a:gd name="T6" fmla="*/ 60 w 66"/>
                <a:gd name="T7" fmla="*/ 24 h 78"/>
                <a:gd name="T8" fmla="*/ 60 w 66"/>
                <a:gd name="T9" fmla="*/ 30 h 78"/>
                <a:gd name="T10" fmla="*/ 66 w 66"/>
                <a:gd name="T11" fmla="*/ 36 h 78"/>
                <a:gd name="T12" fmla="*/ 66 w 66"/>
                <a:gd name="T13" fmla="*/ 54 h 78"/>
                <a:gd name="T14" fmla="*/ 60 w 66"/>
                <a:gd name="T15" fmla="*/ 54 h 78"/>
                <a:gd name="T16" fmla="*/ 54 w 66"/>
                <a:gd name="T17" fmla="*/ 60 h 78"/>
                <a:gd name="T18" fmla="*/ 54 w 66"/>
                <a:gd name="T19" fmla="*/ 66 h 78"/>
                <a:gd name="T20" fmla="*/ 54 w 66"/>
                <a:gd name="T21" fmla="*/ 78 h 78"/>
                <a:gd name="T22" fmla="*/ 36 w 66"/>
                <a:gd name="T23" fmla="*/ 78 h 78"/>
                <a:gd name="T24" fmla="*/ 30 w 66"/>
                <a:gd name="T25" fmla="*/ 78 h 78"/>
                <a:gd name="T26" fmla="*/ 24 w 66"/>
                <a:gd name="T27" fmla="*/ 72 h 78"/>
                <a:gd name="T28" fmla="*/ 18 w 66"/>
                <a:gd name="T29" fmla="*/ 72 h 78"/>
                <a:gd name="T30" fmla="*/ 12 w 66"/>
                <a:gd name="T31" fmla="*/ 66 h 78"/>
                <a:gd name="T32" fmla="*/ 6 w 66"/>
                <a:gd name="T33" fmla="*/ 60 h 78"/>
                <a:gd name="T34" fmla="*/ 6 w 66"/>
                <a:gd name="T35" fmla="*/ 54 h 78"/>
                <a:gd name="T36" fmla="*/ 0 w 66"/>
                <a:gd name="T37" fmla="*/ 54 h 78"/>
                <a:gd name="T38" fmla="*/ 0 w 66"/>
                <a:gd name="T39" fmla="*/ 48 h 78"/>
                <a:gd name="T40" fmla="*/ 0 w 66"/>
                <a:gd name="T41" fmla="*/ 54 h 78"/>
                <a:gd name="T42" fmla="*/ 0 w 66"/>
                <a:gd name="T43" fmla="*/ 48 h 78"/>
                <a:gd name="T44" fmla="*/ 0 w 66"/>
                <a:gd name="T45" fmla="*/ 42 h 78"/>
                <a:gd name="T46" fmla="*/ 0 w 66"/>
                <a:gd name="T47" fmla="*/ 36 h 78"/>
                <a:gd name="T48" fmla="*/ 0 w 66"/>
                <a:gd name="T49" fmla="*/ 30 h 78"/>
                <a:gd name="T50" fmla="*/ 0 w 66"/>
                <a:gd name="T51" fmla="*/ 24 h 78"/>
                <a:gd name="T52" fmla="*/ 6 w 66"/>
                <a:gd name="T53" fmla="*/ 24 h 78"/>
                <a:gd name="T54" fmla="*/ 12 w 66"/>
                <a:gd name="T55" fmla="*/ 12 h 78"/>
                <a:gd name="T56" fmla="*/ 12 w 66"/>
                <a:gd name="T57" fmla="*/ 6 h 78"/>
                <a:gd name="T58" fmla="*/ 18 w 66"/>
                <a:gd name="T59" fmla="*/ 0 h 78"/>
                <a:gd name="T60" fmla="*/ 24 w 66"/>
                <a:gd name="T61" fmla="*/ 0 h 78"/>
                <a:gd name="T62" fmla="*/ 30 w 66"/>
                <a:gd name="T63" fmla="*/ 0 h 78"/>
                <a:gd name="T64" fmla="*/ 36 w 66"/>
                <a:gd name="T65" fmla="*/ 0 h 78"/>
                <a:gd name="T66" fmla="*/ 36 w 66"/>
                <a:gd name="T67" fmla="*/ 6 h 78"/>
                <a:gd name="T68" fmla="*/ 48 w 66"/>
                <a:gd name="T69" fmla="*/ 12 h 78"/>
                <a:gd name="T70" fmla="*/ 54 w 66"/>
                <a:gd name="T71" fmla="*/ 12 h 78"/>
                <a:gd name="T72" fmla="*/ 54 w 66"/>
                <a:gd name="T73" fmla="*/ 6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78"/>
                <a:gd name="T113" fmla="*/ 66 w 66"/>
                <a:gd name="T114" fmla="*/ 78 h 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51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3462" y="2845"/>
              <a:ext cx="133" cy="240"/>
            </a:xfrm>
            <a:custGeom>
              <a:avLst/>
              <a:gdLst>
                <a:gd name="T0" fmla="*/ 0 w 156"/>
                <a:gd name="T1" fmla="*/ 132 h 282"/>
                <a:gd name="T2" fmla="*/ 6 w 156"/>
                <a:gd name="T3" fmla="*/ 144 h 282"/>
                <a:gd name="T4" fmla="*/ 18 w 156"/>
                <a:gd name="T5" fmla="*/ 150 h 282"/>
                <a:gd name="T6" fmla="*/ 30 w 156"/>
                <a:gd name="T7" fmla="*/ 156 h 282"/>
                <a:gd name="T8" fmla="*/ 42 w 156"/>
                <a:gd name="T9" fmla="*/ 150 h 282"/>
                <a:gd name="T10" fmla="*/ 60 w 156"/>
                <a:gd name="T11" fmla="*/ 150 h 282"/>
                <a:gd name="T12" fmla="*/ 66 w 156"/>
                <a:gd name="T13" fmla="*/ 162 h 282"/>
                <a:gd name="T14" fmla="*/ 66 w 156"/>
                <a:gd name="T15" fmla="*/ 174 h 282"/>
                <a:gd name="T16" fmla="*/ 66 w 156"/>
                <a:gd name="T17" fmla="*/ 192 h 282"/>
                <a:gd name="T18" fmla="*/ 66 w 156"/>
                <a:gd name="T19" fmla="*/ 198 h 282"/>
                <a:gd name="T20" fmla="*/ 60 w 156"/>
                <a:gd name="T21" fmla="*/ 210 h 282"/>
                <a:gd name="T22" fmla="*/ 48 w 156"/>
                <a:gd name="T23" fmla="*/ 216 h 282"/>
                <a:gd name="T24" fmla="*/ 54 w 156"/>
                <a:gd name="T25" fmla="*/ 228 h 282"/>
                <a:gd name="T26" fmla="*/ 54 w 156"/>
                <a:gd name="T27" fmla="*/ 234 h 282"/>
                <a:gd name="T28" fmla="*/ 60 w 156"/>
                <a:gd name="T29" fmla="*/ 246 h 282"/>
                <a:gd name="T30" fmla="*/ 66 w 156"/>
                <a:gd name="T31" fmla="*/ 252 h 282"/>
                <a:gd name="T32" fmla="*/ 78 w 156"/>
                <a:gd name="T33" fmla="*/ 258 h 282"/>
                <a:gd name="T34" fmla="*/ 84 w 156"/>
                <a:gd name="T35" fmla="*/ 270 h 282"/>
                <a:gd name="T36" fmla="*/ 96 w 156"/>
                <a:gd name="T37" fmla="*/ 276 h 282"/>
                <a:gd name="T38" fmla="*/ 102 w 156"/>
                <a:gd name="T39" fmla="*/ 282 h 282"/>
                <a:gd name="T40" fmla="*/ 102 w 156"/>
                <a:gd name="T41" fmla="*/ 264 h 282"/>
                <a:gd name="T42" fmla="*/ 96 w 156"/>
                <a:gd name="T43" fmla="*/ 252 h 282"/>
                <a:gd name="T44" fmla="*/ 102 w 156"/>
                <a:gd name="T45" fmla="*/ 240 h 282"/>
                <a:gd name="T46" fmla="*/ 114 w 156"/>
                <a:gd name="T47" fmla="*/ 234 h 282"/>
                <a:gd name="T48" fmla="*/ 126 w 156"/>
                <a:gd name="T49" fmla="*/ 228 h 282"/>
                <a:gd name="T50" fmla="*/ 126 w 156"/>
                <a:gd name="T51" fmla="*/ 186 h 282"/>
                <a:gd name="T52" fmla="*/ 114 w 156"/>
                <a:gd name="T53" fmla="*/ 144 h 282"/>
                <a:gd name="T54" fmla="*/ 90 w 156"/>
                <a:gd name="T55" fmla="*/ 114 h 282"/>
                <a:gd name="T56" fmla="*/ 66 w 156"/>
                <a:gd name="T57" fmla="*/ 102 h 282"/>
                <a:gd name="T58" fmla="*/ 66 w 156"/>
                <a:gd name="T59" fmla="*/ 90 h 282"/>
                <a:gd name="T60" fmla="*/ 60 w 156"/>
                <a:gd name="T61" fmla="*/ 72 h 282"/>
                <a:gd name="T62" fmla="*/ 60 w 156"/>
                <a:gd name="T63" fmla="*/ 48 h 282"/>
                <a:gd name="T64" fmla="*/ 60 w 156"/>
                <a:gd name="T65" fmla="*/ 36 h 282"/>
                <a:gd name="T66" fmla="*/ 66 w 156"/>
                <a:gd name="T67" fmla="*/ 12 h 282"/>
                <a:gd name="T68" fmla="*/ 102 w 156"/>
                <a:gd name="T69" fmla="*/ 6 h 282"/>
                <a:gd name="T70" fmla="*/ 108 w 156"/>
                <a:gd name="T71" fmla="*/ 6 h 282"/>
                <a:gd name="T72" fmla="*/ 114 w 156"/>
                <a:gd name="T73" fmla="*/ 6 h 282"/>
                <a:gd name="T74" fmla="*/ 114 w 156"/>
                <a:gd name="T75" fmla="*/ 12 h 282"/>
                <a:gd name="T76" fmla="*/ 120 w 156"/>
                <a:gd name="T77" fmla="*/ 6 h 282"/>
                <a:gd name="T78" fmla="*/ 132 w 156"/>
                <a:gd name="T79" fmla="*/ 0 h 282"/>
                <a:gd name="T80" fmla="*/ 144 w 156"/>
                <a:gd name="T81" fmla="*/ 6 h 282"/>
                <a:gd name="T82" fmla="*/ 150 w 156"/>
                <a:gd name="T83" fmla="*/ 12 h 282"/>
                <a:gd name="T84" fmla="*/ 156 w 156"/>
                <a:gd name="T85" fmla="*/ 12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6"/>
                <a:gd name="T130" fmla="*/ 0 h 282"/>
                <a:gd name="T131" fmla="*/ 156 w 156"/>
                <a:gd name="T132" fmla="*/ 282 h 2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5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3881" y="2866"/>
              <a:ext cx="311" cy="581"/>
            </a:xfrm>
            <a:custGeom>
              <a:avLst/>
              <a:gdLst>
                <a:gd name="T0" fmla="*/ 66 w 366"/>
                <a:gd name="T1" fmla="*/ 372 h 684"/>
                <a:gd name="T2" fmla="*/ 54 w 366"/>
                <a:gd name="T3" fmla="*/ 360 h 684"/>
                <a:gd name="T4" fmla="*/ 42 w 366"/>
                <a:gd name="T5" fmla="*/ 324 h 684"/>
                <a:gd name="T6" fmla="*/ 36 w 366"/>
                <a:gd name="T7" fmla="*/ 288 h 684"/>
                <a:gd name="T8" fmla="*/ 42 w 366"/>
                <a:gd name="T9" fmla="*/ 270 h 684"/>
                <a:gd name="T10" fmla="*/ 54 w 366"/>
                <a:gd name="T11" fmla="*/ 246 h 684"/>
                <a:gd name="T12" fmla="*/ 66 w 366"/>
                <a:gd name="T13" fmla="*/ 228 h 684"/>
                <a:gd name="T14" fmla="*/ 96 w 366"/>
                <a:gd name="T15" fmla="*/ 210 h 684"/>
                <a:gd name="T16" fmla="*/ 108 w 366"/>
                <a:gd name="T17" fmla="*/ 204 h 684"/>
                <a:gd name="T18" fmla="*/ 120 w 366"/>
                <a:gd name="T19" fmla="*/ 210 h 684"/>
                <a:gd name="T20" fmla="*/ 132 w 366"/>
                <a:gd name="T21" fmla="*/ 192 h 684"/>
                <a:gd name="T22" fmla="*/ 150 w 366"/>
                <a:gd name="T23" fmla="*/ 192 h 684"/>
                <a:gd name="T24" fmla="*/ 162 w 366"/>
                <a:gd name="T25" fmla="*/ 198 h 684"/>
                <a:gd name="T26" fmla="*/ 168 w 366"/>
                <a:gd name="T27" fmla="*/ 180 h 684"/>
                <a:gd name="T28" fmla="*/ 192 w 366"/>
                <a:gd name="T29" fmla="*/ 168 h 684"/>
                <a:gd name="T30" fmla="*/ 198 w 366"/>
                <a:gd name="T31" fmla="*/ 168 h 684"/>
                <a:gd name="T32" fmla="*/ 204 w 366"/>
                <a:gd name="T33" fmla="*/ 156 h 684"/>
                <a:gd name="T34" fmla="*/ 216 w 366"/>
                <a:gd name="T35" fmla="*/ 144 h 684"/>
                <a:gd name="T36" fmla="*/ 222 w 366"/>
                <a:gd name="T37" fmla="*/ 138 h 684"/>
                <a:gd name="T38" fmla="*/ 228 w 366"/>
                <a:gd name="T39" fmla="*/ 120 h 684"/>
                <a:gd name="T40" fmla="*/ 240 w 366"/>
                <a:gd name="T41" fmla="*/ 120 h 684"/>
                <a:gd name="T42" fmla="*/ 240 w 366"/>
                <a:gd name="T43" fmla="*/ 102 h 684"/>
                <a:gd name="T44" fmla="*/ 240 w 366"/>
                <a:gd name="T45" fmla="*/ 84 h 684"/>
                <a:gd name="T46" fmla="*/ 264 w 366"/>
                <a:gd name="T47" fmla="*/ 84 h 684"/>
                <a:gd name="T48" fmla="*/ 276 w 366"/>
                <a:gd name="T49" fmla="*/ 72 h 684"/>
                <a:gd name="T50" fmla="*/ 288 w 366"/>
                <a:gd name="T51" fmla="*/ 54 h 684"/>
                <a:gd name="T52" fmla="*/ 276 w 366"/>
                <a:gd name="T53" fmla="*/ 24 h 684"/>
                <a:gd name="T54" fmla="*/ 294 w 366"/>
                <a:gd name="T55" fmla="*/ 12 h 684"/>
                <a:gd name="T56" fmla="*/ 300 w 366"/>
                <a:gd name="T57" fmla="*/ 0 h 684"/>
                <a:gd name="T58" fmla="*/ 306 w 366"/>
                <a:gd name="T59" fmla="*/ 18 h 684"/>
                <a:gd name="T60" fmla="*/ 312 w 366"/>
                <a:gd name="T61" fmla="*/ 18 h 684"/>
                <a:gd name="T62" fmla="*/ 324 w 366"/>
                <a:gd name="T63" fmla="*/ 42 h 684"/>
                <a:gd name="T64" fmla="*/ 336 w 366"/>
                <a:gd name="T65" fmla="*/ 60 h 684"/>
                <a:gd name="T66" fmla="*/ 348 w 366"/>
                <a:gd name="T67" fmla="*/ 102 h 684"/>
                <a:gd name="T68" fmla="*/ 354 w 366"/>
                <a:gd name="T69" fmla="*/ 150 h 684"/>
                <a:gd name="T70" fmla="*/ 360 w 366"/>
                <a:gd name="T71" fmla="*/ 180 h 684"/>
                <a:gd name="T72" fmla="*/ 336 w 366"/>
                <a:gd name="T73" fmla="*/ 192 h 684"/>
                <a:gd name="T74" fmla="*/ 324 w 366"/>
                <a:gd name="T75" fmla="*/ 180 h 684"/>
                <a:gd name="T76" fmla="*/ 330 w 366"/>
                <a:gd name="T77" fmla="*/ 216 h 684"/>
                <a:gd name="T78" fmla="*/ 330 w 366"/>
                <a:gd name="T79" fmla="*/ 246 h 684"/>
                <a:gd name="T80" fmla="*/ 312 w 366"/>
                <a:gd name="T81" fmla="*/ 288 h 684"/>
                <a:gd name="T82" fmla="*/ 306 w 366"/>
                <a:gd name="T83" fmla="*/ 330 h 684"/>
                <a:gd name="T84" fmla="*/ 276 w 366"/>
                <a:gd name="T85" fmla="*/ 408 h 684"/>
                <a:gd name="T86" fmla="*/ 258 w 366"/>
                <a:gd name="T87" fmla="*/ 474 h 684"/>
                <a:gd name="T88" fmla="*/ 234 w 366"/>
                <a:gd name="T89" fmla="*/ 534 h 684"/>
                <a:gd name="T90" fmla="*/ 222 w 366"/>
                <a:gd name="T91" fmla="*/ 582 h 684"/>
                <a:gd name="T92" fmla="*/ 204 w 366"/>
                <a:gd name="T93" fmla="*/ 630 h 684"/>
                <a:gd name="T94" fmla="*/ 180 w 366"/>
                <a:gd name="T95" fmla="*/ 654 h 684"/>
                <a:gd name="T96" fmla="*/ 132 w 366"/>
                <a:gd name="T97" fmla="*/ 672 h 684"/>
                <a:gd name="T98" fmla="*/ 96 w 366"/>
                <a:gd name="T99" fmla="*/ 678 h 684"/>
                <a:gd name="T100" fmla="*/ 48 w 366"/>
                <a:gd name="T101" fmla="*/ 654 h 684"/>
                <a:gd name="T102" fmla="*/ 24 w 366"/>
                <a:gd name="T103" fmla="*/ 618 h 684"/>
                <a:gd name="T104" fmla="*/ 30 w 366"/>
                <a:gd name="T105" fmla="*/ 570 h 684"/>
                <a:gd name="T106" fmla="*/ 6 w 366"/>
                <a:gd name="T107" fmla="*/ 534 h 684"/>
                <a:gd name="T108" fmla="*/ 6 w 366"/>
                <a:gd name="T109" fmla="*/ 492 h 684"/>
                <a:gd name="T110" fmla="*/ 18 w 366"/>
                <a:gd name="T111" fmla="*/ 480 h 684"/>
                <a:gd name="T112" fmla="*/ 18 w 366"/>
                <a:gd name="T113" fmla="*/ 474 h 684"/>
                <a:gd name="T114" fmla="*/ 36 w 366"/>
                <a:gd name="T115" fmla="*/ 462 h 684"/>
                <a:gd name="T116" fmla="*/ 42 w 366"/>
                <a:gd name="T117" fmla="*/ 444 h 684"/>
                <a:gd name="T118" fmla="*/ 60 w 366"/>
                <a:gd name="T119" fmla="*/ 414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6"/>
                <a:gd name="T181" fmla="*/ 0 h 684"/>
                <a:gd name="T182" fmla="*/ 366 w 366"/>
                <a:gd name="T183" fmla="*/ 684 h 6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53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3284" y="2463"/>
              <a:ext cx="76" cy="92"/>
            </a:xfrm>
            <a:custGeom>
              <a:avLst/>
              <a:gdLst>
                <a:gd name="T0" fmla="*/ 0 w 90"/>
                <a:gd name="T1" fmla="*/ 12 h 108"/>
                <a:gd name="T2" fmla="*/ 12 w 90"/>
                <a:gd name="T3" fmla="*/ 12 h 108"/>
                <a:gd name="T4" fmla="*/ 18 w 90"/>
                <a:gd name="T5" fmla="*/ 18 h 108"/>
                <a:gd name="T6" fmla="*/ 18 w 90"/>
                <a:gd name="T7" fmla="*/ 24 h 108"/>
                <a:gd name="T8" fmla="*/ 30 w 90"/>
                <a:gd name="T9" fmla="*/ 24 h 108"/>
                <a:gd name="T10" fmla="*/ 36 w 90"/>
                <a:gd name="T11" fmla="*/ 18 h 108"/>
                <a:gd name="T12" fmla="*/ 42 w 90"/>
                <a:gd name="T13" fmla="*/ 24 h 108"/>
                <a:gd name="T14" fmla="*/ 42 w 90"/>
                <a:gd name="T15" fmla="*/ 12 h 108"/>
                <a:gd name="T16" fmla="*/ 48 w 90"/>
                <a:gd name="T17" fmla="*/ 6 h 108"/>
                <a:gd name="T18" fmla="*/ 54 w 90"/>
                <a:gd name="T19" fmla="*/ 6 h 108"/>
                <a:gd name="T20" fmla="*/ 66 w 90"/>
                <a:gd name="T21" fmla="*/ 0 h 108"/>
                <a:gd name="T22" fmla="*/ 78 w 90"/>
                <a:gd name="T23" fmla="*/ 0 h 108"/>
                <a:gd name="T24" fmla="*/ 72 w 90"/>
                <a:gd name="T25" fmla="*/ 6 h 108"/>
                <a:gd name="T26" fmla="*/ 66 w 90"/>
                <a:gd name="T27" fmla="*/ 18 h 108"/>
                <a:gd name="T28" fmla="*/ 72 w 90"/>
                <a:gd name="T29" fmla="*/ 24 h 108"/>
                <a:gd name="T30" fmla="*/ 72 w 90"/>
                <a:gd name="T31" fmla="*/ 24 h 108"/>
                <a:gd name="T32" fmla="*/ 78 w 90"/>
                <a:gd name="T33" fmla="*/ 30 h 108"/>
                <a:gd name="T34" fmla="*/ 90 w 90"/>
                <a:gd name="T35" fmla="*/ 30 h 108"/>
                <a:gd name="T36" fmla="*/ 90 w 90"/>
                <a:gd name="T37" fmla="*/ 42 h 108"/>
                <a:gd name="T38" fmla="*/ 84 w 90"/>
                <a:gd name="T39" fmla="*/ 48 h 108"/>
                <a:gd name="T40" fmla="*/ 78 w 90"/>
                <a:gd name="T41" fmla="*/ 54 h 108"/>
                <a:gd name="T42" fmla="*/ 78 w 90"/>
                <a:gd name="T43" fmla="*/ 54 h 108"/>
                <a:gd name="T44" fmla="*/ 72 w 90"/>
                <a:gd name="T45" fmla="*/ 60 h 108"/>
                <a:gd name="T46" fmla="*/ 66 w 90"/>
                <a:gd name="T47" fmla="*/ 72 h 108"/>
                <a:gd name="T48" fmla="*/ 60 w 90"/>
                <a:gd name="T49" fmla="*/ 84 h 108"/>
                <a:gd name="T50" fmla="*/ 54 w 90"/>
                <a:gd name="T51" fmla="*/ 90 h 108"/>
                <a:gd name="T52" fmla="*/ 48 w 90"/>
                <a:gd name="T53" fmla="*/ 96 h 108"/>
                <a:gd name="T54" fmla="*/ 42 w 90"/>
                <a:gd name="T55" fmla="*/ 102 h 108"/>
                <a:gd name="T56" fmla="*/ 36 w 90"/>
                <a:gd name="T57" fmla="*/ 108 h 108"/>
                <a:gd name="T58" fmla="*/ 30 w 90"/>
                <a:gd name="T59" fmla="*/ 102 h 108"/>
                <a:gd name="T60" fmla="*/ 18 w 90"/>
                <a:gd name="T61" fmla="*/ 90 h 108"/>
                <a:gd name="T62" fmla="*/ 12 w 90"/>
                <a:gd name="T63" fmla="*/ 84 h 108"/>
                <a:gd name="T64" fmla="*/ 12 w 90"/>
                <a:gd name="T65" fmla="*/ 72 h 108"/>
                <a:gd name="T66" fmla="*/ 12 w 90"/>
                <a:gd name="T67" fmla="*/ 60 h 108"/>
                <a:gd name="T68" fmla="*/ 6 w 90"/>
                <a:gd name="T69" fmla="*/ 48 h 108"/>
                <a:gd name="T70" fmla="*/ 6 w 90"/>
                <a:gd name="T71" fmla="*/ 42 h 108"/>
                <a:gd name="T72" fmla="*/ 6 w 90"/>
                <a:gd name="T73" fmla="*/ 42 h 108"/>
                <a:gd name="T74" fmla="*/ 12 w 90"/>
                <a:gd name="T75" fmla="*/ 36 h 108"/>
                <a:gd name="T76" fmla="*/ 12 w 90"/>
                <a:gd name="T77" fmla="*/ 36 h 108"/>
                <a:gd name="T78" fmla="*/ 6 w 90"/>
                <a:gd name="T79" fmla="*/ 30 h 108"/>
                <a:gd name="T80" fmla="*/ 0 w 90"/>
                <a:gd name="T81" fmla="*/ 24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0"/>
                <a:gd name="T124" fmla="*/ 0 h 108"/>
                <a:gd name="T125" fmla="*/ 90 w 90"/>
                <a:gd name="T126" fmla="*/ 108 h 1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54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3437" y="2759"/>
              <a:ext cx="137" cy="326"/>
            </a:xfrm>
            <a:custGeom>
              <a:avLst/>
              <a:gdLst>
                <a:gd name="T0" fmla="*/ 24 w 162"/>
                <a:gd name="T1" fmla="*/ 6 h 384"/>
                <a:gd name="T2" fmla="*/ 42 w 162"/>
                <a:gd name="T3" fmla="*/ 12 h 384"/>
                <a:gd name="T4" fmla="*/ 60 w 162"/>
                <a:gd name="T5" fmla="*/ 18 h 384"/>
                <a:gd name="T6" fmla="*/ 72 w 162"/>
                <a:gd name="T7" fmla="*/ 6 h 384"/>
                <a:gd name="T8" fmla="*/ 84 w 162"/>
                <a:gd name="T9" fmla="*/ 18 h 384"/>
                <a:gd name="T10" fmla="*/ 90 w 162"/>
                <a:gd name="T11" fmla="*/ 36 h 384"/>
                <a:gd name="T12" fmla="*/ 96 w 162"/>
                <a:gd name="T13" fmla="*/ 60 h 384"/>
                <a:gd name="T14" fmla="*/ 96 w 162"/>
                <a:gd name="T15" fmla="*/ 84 h 384"/>
                <a:gd name="T16" fmla="*/ 108 w 162"/>
                <a:gd name="T17" fmla="*/ 96 h 384"/>
                <a:gd name="T18" fmla="*/ 96 w 162"/>
                <a:gd name="T19" fmla="*/ 108 h 384"/>
                <a:gd name="T20" fmla="*/ 90 w 162"/>
                <a:gd name="T21" fmla="*/ 138 h 384"/>
                <a:gd name="T22" fmla="*/ 90 w 162"/>
                <a:gd name="T23" fmla="*/ 162 h 384"/>
                <a:gd name="T24" fmla="*/ 96 w 162"/>
                <a:gd name="T25" fmla="*/ 186 h 384"/>
                <a:gd name="T26" fmla="*/ 96 w 162"/>
                <a:gd name="T27" fmla="*/ 204 h 384"/>
                <a:gd name="T28" fmla="*/ 126 w 162"/>
                <a:gd name="T29" fmla="*/ 222 h 384"/>
                <a:gd name="T30" fmla="*/ 162 w 162"/>
                <a:gd name="T31" fmla="*/ 276 h 384"/>
                <a:gd name="T32" fmla="*/ 156 w 162"/>
                <a:gd name="T33" fmla="*/ 330 h 384"/>
                <a:gd name="T34" fmla="*/ 138 w 162"/>
                <a:gd name="T35" fmla="*/ 336 h 384"/>
                <a:gd name="T36" fmla="*/ 132 w 162"/>
                <a:gd name="T37" fmla="*/ 354 h 384"/>
                <a:gd name="T38" fmla="*/ 132 w 162"/>
                <a:gd name="T39" fmla="*/ 366 h 384"/>
                <a:gd name="T40" fmla="*/ 120 w 162"/>
                <a:gd name="T41" fmla="*/ 384 h 384"/>
                <a:gd name="T42" fmla="*/ 120 w 162"/>
                <a:gd name="T43" fmla="*/ 372 h 384"/>
                <a:gd name="T44" fmla="*/ 108 w 162"/>
                <a:gd name="T45" fmla="*/ 360 h 384"/>
                <a:gd name="T46" fmla="*/ 96 w 162"/>
                <a:gd name="T47" fmla="*/ 348 h 384"/>
                <a:gd name="T48" fmla="*/ 84 w 162"/>
                <a:gd name="T49" fmla="*/ 342 h 384"/>
                <a:gd name="T50" fmla="*/ 84 w 162"/>
                <a:gd name="T51" fmla="*/ 330 h 384"/>
                <a:gd name="T52" fmla="*/ 84 w 162"/>
                <a:gd name="T53" fmla="*/ 318 h 384"/>
                <a:gd name="T54" fmla="*/ 90 w 162"/>
                <a:gd name="T55" fmla="*/ 300 h 384"/>
                <a:gd name="T56" fmla="*/ 96 w 162"/>
                <a:gd name="T57" fmla="*/ 294 h 384"/>
                <a:gd name="T58" fmla="*/ 96 w 162"/>
                <a:gd name="T59" fmla="*/ 270 h 384"/>
                <a:gd name="T60" fmla="*/ 90 w 162"/>
                <a:gd name="T61" fmla="*/ 258 h 384"/>
                <a:gd name="T62" fmla="*/ 72 w 162"/>
                <a:gd name="T63" fmla="*/ 252 h 384"/>
                <a:gd name="T64" fmla="*/ 54 w 162"/>
                <a:gd name="T65" fmla="*/ 258 h 384"/>
                <a:gd name="T66" fmla="*/ 42 w 162"/>
                <a:gd name="T67" fmla="*/ 246 h 384"/>
                <a:gd name="T68" fmla="*/ 30 w 162"/>
                <a:gd name="T69" fmla="*/ 234 h 384"/>
                <a:gd name="T70" fmla="*/ 18 w 162"/>
                <a:gd name="T71" fmla="*/ 228 h 384"/>
                <a:gd name="T72" fmla="*/ 12 w 162"/>
                <a:gd name="T73" fmla="*/ 222 h 384"/>
                <a:gd name="T74" fmla="*/ 6 w 162"/>
                <a:gd name="T75" fmla="*/ 216 h 384"/>
                <a:gd name="T76" fmla="*/ 0 w 162"/>
                <a:gd name="T77" fmla="*/ 210 h 384"/>
                <a:gd name="T78" fmla="*/ 12 w 162"/>
                <a:gd name="T79" fmla="*/ 192 h 384"/>
                <a:gd name="T80" fmla="*/ 18 w 162"/>
                <a:gd name="T81" fmla="*/ 174 h 384"/>
                <a:gd name="T82" fmla="*/ 18 w 162"/>
                <a:gd name="T83" fmla="*/ 162 h 384"/>
                <a:gd name="T84" fmla="*/ 36 w 162"/>
                <a:gd name="T85" fmla="*/ 156 h 384"/>
                <a:gd name="T86" fmla="*/ 36 w 162"/>
                <a:gd name="T87" fmla="*/ 144 h 384"/>
                <a:gd name="T88" fmla="*/ 30 w 162"/>
                <a:gd name="T89" fmla="*/ 126 h 384"/>
                <a:gd name="T90" fmla="*/ 30 w 162"/>
                <a:gd name="T91" fmla="*/ 108 h 384"/>
                <a:gd name="T92" fmla="*/ 30 w 162"/>
                <a:gd name="T93" fmla="*/ 96 h 384"/>
                <a:gd name="T94" fmla="*/ 30 w 162"/>
                <a:gd name="T95" fmla="*/ 84 h 384"/>
                <a:gd name="T96" fmla="*/ 42 w 162"/>
                <a:gd name="T97" fmla="*/ 66 h 384"/>
                <a:gd name="T98" fmla="*/ 48 w 162"/>
                <a:gd name="T99" fmla="*/ 60 h 384"/>
                <a:gd name="T100" fmla="*/ 36 w 162"/>
                <a:gd name="T101" fmla="*/ 36 h 384"/>
                <a:gd name="T102" fmla="*/ 30 w 162"/>
                <a:gd name="T103" fmla="*/ 24 h 384"/>
                <a:gd name="T104" fmla="*/ 24 w 162"/>
                <a:gd name="T105" fmla="*/ 18 h 384"/>
                <a:gd name="T106" fmla="*/ 12 w 162"/>
                <a:gd name="T107" fmla="*/ 6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2"/>
                <a:gd name="T163" fmla="*/ 0 h 384"/>
                <a:gd name="T164" fmla="*/ 162 w 162"/>
                <a:gd name="T165" fmla="*/ 384 h 3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1" name="Group 55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294" y="2406"/>
              <a:ext cx="469" cy="454"/>
              <a:chOff x="3294" y="2406"/>
              <a:chExt cx="469" cy="454"/>
            </a:xfrm>
            <a:grpFill/>
          </p:grpSpPr>
          <p:sp>
            <p:nvSpPr>
              <p:cNvPr id="164" name="Freeform 56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294" y="2406"/>
                <a:ext cx="469" cy="454"/>
              </a:xfrm>
              <a:custGeom>
                <a:avLst/>
                <a:gdLst>
                  <a:gd name="T0" fmla="*/ 30 w 552"/>
                  <a:gd name="T1" fmla="*/ 168 h 534"/>
                  <a:gd name="T2" fmla="*/ 48 w 552"/>
                  <a:gd name="T3" fmla="*/ 150 h 534"/>
                  <a:gd name="T4" fmla="*/ 66 w 552"/>
                  <a:gd name="T5" fmla="*/ 120 h 534"/>
                  <a:gd name="T6" fmla="*/ 78 w 552"/>
                  <a:gd name="T7" fmla="*/ 108 h 534"/>
                  <a:gd name="T8" fmla="*/ 60 w 552"/>
                  <a:gd name="T9" fmla="*/ 90 h 534"/>
                  <a:gd name="T10" fmla="*/ 60 w 552"/>
                  <a:gd name="T11" fmla="*/ 72 h 534"/>
                  <a:gd name="T12" fmla="*/ 78 w 552"/>
                  <a:gd name="T13" fmla="*/ 60 h 534"/>
                  <a:gd name="T14" fmla="*/ 78 w 552"/>
                  <a:gd name="T15" fmla="*/ 36 h 534"/>
                  <a:gd name="T16" fmla="*/ 60 w 552"/>
                  <a:gd name="T17" fmla="*/ 12 h 534"/>
                  <a:gd name="T18" fmla="*/ 90 w 552"/>
                  <a:gd name="T19" fmla="*/ 0 h 534"/>
                  <a:gd name="T20" fmla="*/ 288 w 552"/>
                  <a:gd name="T21" fmla="*/ 30 h 534"/>
                  <a:gd name="T22" fmla="*/ 414 w 552"/>
                  <a:gd name="T23" fmla="*/ 96 h 534"/>
                  <a:gd name="T24" fmla="*/ 426 w 552"/>
                  <a:gd name="T25" fmla="*/ 132 h 534"/>
                  <a:gd name="T26" fmla="*/ 492 w 552"/>
                  <a:gd name="T27" fmla="*/ 192 h 534"/>
                  <a:gd name="T28" fmla="*/ 486 w 552"/>
                  <a:gd name="T29" fmla="*/ 198 h 534"/>
                  <a:gd name="T30" fmla="*/ 486 w 552"/>
                  <a:gd name="T31" fmla="*/ 210 h 534"/>
                  <a:gd name="T32" fmla="*/ 480 w 552"/>
                  <a:gd name="T33" fmla="*/ 228 h 534"/>
                  <a:gd name="T34" fmla="*/ 474 w 552"/>
                  <a:gd name="T35" fmla="*/ 264 h 534"/>
                  <a:gd name="T36" fmla="*/ 480 w 552"/>
                  <a:gd name="T37" fmla="*/ 270 h 534"/>
                  <a:gd name="T38" fmla="*/ 492 w 552"/>
                  <a:gd name="T39" fmla="*/ 282 h 534"/>
                  <a:gd name="T40" fmla="*/ 510 w 552"/>
                  <a:gd name="T41" fmla="*/ 300 h 534"/>
                  <a:gd name="T42" fmla="*/ 498 w 552"/>
                  <a:gd name="T43" fmla="*/ 312 h 534"/>
                  <a:gd name="T44" fmla="*/ 498 w 552"/>
                  <a:gd name="T45" fmla="*/ 336 h 534"/>
                  <a:gd name="T46" fmla="*/ 498 w 552"/>
                  <a:gd name="T47" fmla="*/ 354 h 534"/>
                  <a:gd name="T48" fmla="*/ 498 w 552"/>
                  <a:gd name="T49" fmla="*/ 384 h 534"/>
                  <a:gd name="T50" fmla="*/ 504 w 552"/>
                  <a:gd name="T51" fmla="*/ 390 h 534"/>
                  <a:gd name="T52" fmla="*/ 510 w 552"/>
                  <a:gd name="T53" fmla="*/ 402 h 534"/>
                  <a:gd name="T54" fmla="*/ 510 w 552"/>
                  <a:gd name="T55" fmla="*/ 402 h 534"/>
                  <a:gd name="T56" fmla="*/ 516 w 552"/>
                  <a:gd name="T57" fmla="*/ 426 h 534"/>
                  <a:gd name="T58" fmla="*/ 516 w 552"/>
                  <a:gd name="T59" fmla="*/ 444 h 534"/>
                  <a:gd name="T60" fmla="*/ 534 w 552"/>
                  <a:gd name="T61" fmla="*/ 456 h 534"/>
                  <a:gd name="T62" fmla="*/ 540 w 552"/>
                  <a:gd name="T63" fmla="*/ 462 h 534"/>
                  <a:gd name="T64" fmla="*/ 552 w 552"/>
                  <a:gd name="T65" fmla="*/ 462 h 534"/>
                  <a:gd name="T66" fmla="*/ 528 w 552"/>
                  <a:gd name="T67" fmla="*/ 486 h 534"/>
                  <a:gd name="T68" fmla="*/ 498 w 552"/>
                  <a:gd name="T69" fmla="*/ 504 h 534"/>
                  <a:gd name="T70" fmla="*/ 468 w 552"/>
                  <a:gd name="T71" fmla="*/ 510 h 534"/>
                  <a:gd name="T72" fmla="*/ 444 w 552"/>
                  <a:gd name="T73" fmla="*/ 510 h 534"/>
                  <a:gd name="T74" fmla="*/ 420 w 552"/>
                  <a:gd name="T75" fmla="*/ 522 h 534"/>
                  <a:gd name="T76" fmla="*/ 402 w 552"/>
                  <a:gd name="T77" fmla="*/ 528 h 534"/>
                  <a:gd name="T78" fmla="*/ 372 w 552"/>
                  <a:gd name="T79" fmla="*/ 522 h 534"/>
                  <a:gd name="T80" fmla="*/ 354 w 552"/>
                  <a:gd name="T81" fmla="*/ 528 h 534"/>
                  <a:gd name="T82" fmla="*/ 342 w 552"/>
                  <a:gd name="T83" fmla="*/ 522 h 534"/>
                  <a:gd name="T84" fmla="*/ 318 w 552"/>
                  <a:gd name="T85" fmla="*/ 522 h 534"/>
                  <a:gd name="T86" fmla="*/ 312 w 552"/>
                  <a:gd name="T87" fmla="*/ 522 h 534"/>
                  <a:gd name="T88" fmla="*/ 300 w 552"/>
                  <a:gd name="T89" fmla="*/ 522 h 534"/>
                  <a:gd name="T90" fmla="*/ 270 w 552"/>
                  <a:gd name="T91" fmla="*/ 504 h 534"/>
                  <a:gd name="T92" fmla="*/ 264 w 552"/>
                  <a:gd name="T93" fmla="*/ 474 h 534"/>
                  <a:gd name="T94" fmla="*/ 258 w 552"/>
                  <a:gd name="T95" fmla="*/ 444 h 534"/>
                  <a:gd name="T96" fmla="*/ 240 w 552"/>
                  <a:gd name="T97" fmla="*/ 420 h 534"/>
                  <a:gd name="T98" fmla="*/ 222 w 552"/>
                  <a:gd name="T99" fmla="*/ 426 h 534"/>
                  <a:gd name="T100" fmla="*/ 192 w 552"/>
                  <a:gd name="T101" fmla="*/ 420 h 534"/>
                  <a:gd name="T102" fmla="*/ 168 w 552"/>
                  <a:gd name="T103" fmla="*/ 408 h 534"/>
                  <a:gd name="T104" fmla="*/ 138 w 552"/>
                  <a:gd name="T105" fmla="*/ 402 h 534"/>
                  <a:gd name="T106" fmla="*/ 114 w 552"/>
                  <a:gd name="T107" fmla="*/ 390 h 534"/>
                  <a:gd name="T108" fmla="*/ 90 w 552"/>
                  <a:gd name="T109" fmla="*/ 378 h 534"/>
                  <a:gd name="T110" fmla="*/ 72 w 552"/>
                  <a:gd name="T111" fmla="*/ 348 h 534"/>
                  <a:gd name="T112" fmla="*/ 48 w 552"/>
                  <a:gd name="T113" fmla="*/ 300 h 534"/>
                  <a:gd name="T114" fmla="*/ 18 w 552"/>
                  <a:gd name="T115" fmla="*/ 264 h 534"/>
                  <a:gd name="T116" fmla="*/ 18 w 552"/>
                  <a:gd name="T117" fmla="*/ 228 h 534"/>
                  <a:gd name="T118" fmla="*/ 0 w 552"/>
                  <a:gd name="T119" fmla="*/ 192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52"/>
                  <a:gd name="T181" fmla="*/ 0 h 534"/>
                  <a:gd name="T182" fmla="*/ 552 w 552"/>
                  <a:gd name="T183" fmla="*/ 534 h 53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" name="Freeform 57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728" y="2687"/>
                <a:ext cx="15" cy="15"/>
              </a:xfrm>
              <a:custGeom>
                <a:avLst/>
                <a:gdLst>
                  <a:gd name="T0" fmla="*/ 12 w 18"/>
                  <a:gd name="T1" fmla="*/ 6 h 18"/>
                  <a:gd name="T2" fmla="*/ 18 w 18"/>
                  <a:gd name="T3" fmla="*/ 6 h 18"/>
                  <a:gd name="T4" fmla="*/ 12 w 18"/>
                  <a:gd name="T5" fmla="*/ 6 h 18"/>
                  <a:gd name="T6" fmla="*/ 18 w 18"/>
                  <a:gd name="T7" fmla="*/ 0 h 18"/>
                  <a:gd name="T8" fmla="*/ 18 w 18"/>
                  <a:gd name="T9" fmla="*/ 6 h 18"/>
                  <a:gd name="T10" fmla="*/ 12 w 18"/>
                  <a:gd name="T11" fmla="*/ 12 h 18"/>
                  <a:gd name="T12" fmla="*/ 18 w 18"/>
                  <a:gd name="T13" fmla="*/ 12 h 18"/>
                  <a:gd name="T14" fmla="*/ 12 w 18"/>
                  <a:gd name="T15" fmla="*/ 12 h 18"/>
                  <a:gd name="T16" fmla="*/ 6 w 18"/>
                  <a:gd name="T17" fmla="*/ 12 h 18"/>
                  <a:gd name="T18" fmla="*/ 12 w 18"/>
                  <a:gd name="T19" fmla="*/ 18 h 18"/>
                  <a:gd name="T20" fmla="*/ 6 w 18"/>
                  <a:gd name="T21" fmla="*/ 18 h 18"/>
                  <a:gd name="T22" fmla="*/ 0 w 18"/>
                  <a:gd name="T23" fmla="*/ 12 h 18"/>
                  <a:gd name="T24" fmla="*/ 6 w 18"/>
                  <a:gd name="T25" fmla="*/ 12 h 18"/>
                  <a:gd name="T26" fmla="*/ 6 w 18"/>
                  <a:gd name="T27" fmla="*/ 6 h 18"/>
                  <a:gd name="T28" fmla="*/ 6 w 18"/>
                  <a:gd name="T29" fmla="*/ 12 h 18"/>
                  <a:gd name="T30" fmla="*/ 6 w 18"/>
                  <a:gd name="T31" fmla="*/ 6 h 18"/>
                  <a:gd name="T32" fmla="*/ 12 w 18"/>
                  <a:gd name="T33" fmla="*/ 6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18"/>
                  <a:gd name="T53" fmla="*/ 18 w 18"/>
                  <a:gd name="T54" fmla="*/ 18 h 1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6" name="Freeform 58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733" y="2570"/>
                <a:ext cx="10" cy="25"/>
              </a:xfrm>
              <a:custGeom>
                <a:avLst/>
                <a:gdLst>
                  <a:gd name="T0" fmla="*/ 12 w 12"/>
                  <a:gd name="T1" fmla="*/ 6 h 30"/>
                  <a:gd name="T2" fmla="*/ 6 w 12"/>
                  <a:gd name="T3" fmla="*/ 6 h 30"/>
                  <a:gd name="T4" fmla="*/ 6 w 12"/>
                  <a:gd name="T5" fmla="*/ 12 h 30"/>
                  <a:gd name="T6" fmla="*/ 12 w 12"/>
                  <a:gd name="T7" fmla="*/ 12 h 30"/>
                  <a:gd name="T8" fmla="*/ 12 w 12"/>
                  <a:gd name="T9" fmla="*/ 18 h 30"/>
                  <a:gd name="T10" fmla="*/ 6 w 12"/>
                  <a:gd name="T11" fmla="*/ 18 h 30"/>
                  <a:gd name="T12" fmla="*/ 6 w 12"/>
                  <a:gd name="T13" fmla="*/ 24 h 30"/>
                  <a:gd name="T14" fmla="*/ 6 w 12"/>
                  <a:gd name="T15" fmla="*/ 30 h 30"/>
                  <a:gd name="T16" fmla="*/ 6 w 12"/>
                  <a:gd name="T17" fmla="*/ 24 h 30"/>
                  <a:gd name="T18" fmla="*/ 0 w 12"/>
                  <a:gd name="T19" fmla="*/ 24 h 30"/>
                  <a:gd name="T20" fmla="*/ 0 w 12"/>
                  <a:gd name="T21" fmla="*/ 30 h 30"/>
                  <a:gd name="T22" fmla="*/ 0 w 12"/>
                  <a:gd name="T23" fmla="*/ 24 h 30"/>
                  <a:gd name="T24" fmla="*/ 0 w 12"/>
                  <a:gd name="T25" fmla="*/ 30 h 30"/>
                  <a:gd name="T26" fmla="*/ 0 w 12"/>
                  <a:gd name="T27" fmla="*/ 24 h 30"/>
                  <a:gd name="T28" fmla="*/ 0 w 12"/>
                  <a:gd name="T29" fmla="*/ 18 h 30"/>
                  <a:gd name="T30" fmla="*/ 0 w 12"/>
                  <a:gd name="T31" fmla="*/ 24 h 30"/>
                  <a:gd name="T32" fmla="*/ 0 w 12"/>
                  <a:gd name="T33" fmla="*/ 18 h 30"/>
                  <a:gd name="T34" fmla="*/ 6 w 12"/>
                  <a:gd name="T35" fmla="*/ 18 h 30"/>
                  <a:gd name="T36" fmla="*/ 0 w 12"/>
                  <a:gd name="T37" fmla="*/ 18 h 30"/>
                  <a:gd name="T38" fmla="*/ 6 w 12"/>
                  <a:gd name="T39" fmla="*/ 18 h 30"/>
                  <a:gd name="T40" fmla="*/ 6 w 12"/>
                  <a:gd name="T41" fmla="*/ 12 h 30"/>
                  <a:gd name="T42" fmla="*/ 0 w 12"/>
                  <a:gd name="T43" fmla="*/ 12 h 30"/>
                  <a:gd name="T44" fmla="*/ 6 w 12"/>
                  <a:gd name="T45" fmla="*/ 12 h 30"/>
                  <a:gd name="T46" fmla="*/ 0 w 12"/>
                  <a:gd name="T47" fmla="*/ 12 h 30"/>
                  <a:gd name="T48" fmla="*/ 0 w 12"/>
                  <a:gd name="T49" fmla="*/ 6 h 30"/>
                  <a:gd name="T50" fmla="*/ 0 w 12"/>
                  <a:gd name="T51" fmla="*/ 0 h 30"/>
                  <a:gd name="T52" fmla="*/ 6 w 12"/>
                  <a:gd name="T53" fmla="*/ 0 h 30"/>
                  <a:gd name="T54" fmla="*/ 6 w 12"/>
                  <a:gd name="T55" fmla="*/ 6 h 30"/>
                  <a:gd name="T56" fmla="*/ 6 w 12"/>
                  <a:gd name="T57" fmla="*/ 0 h 30"/>
                  <a:gd name="T58" fmla="*/ 6 w 12"/>
                  <a:gd name="T59" fmla="*/ 6 h 30"/>
                  <a:gd name="T60" fmla="*/ 12 w 12"/>
                  <a:gd name="T61" fmla="*/ 6 h 30"/>
                  <a:gd name="T62" fmla="*/ 12 w 12"/>
                  <a:gd name="T63" fmla="*/ 0 h 30"/>
                  <a:gd name="T64" fmla="*/ 12 w 12"/>
                  <a:gd name="T65" fmla="*/ 6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"/>
                  <a:gd name="T100" fmla="*/ 0 h 30"/>
                  <a:gd name="T101" fmla="*/ 12 w 1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7" name="Freeform 59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712" y="2606"/>
                <a:ext cx="16" cy="30"/>
              </a:xfrm>
              <a:custGeom>
                <a:avLst/>
                <a:gdLst>
                  <a:gd name="T0" fmla="*/ 0 w 18"/>
                  <a:gd name="T1" fmla="*/ 12 h 36"/>
                  <a:gd name="T2" fmla="*/ 0 w 18"/>
                  <a:gd name="T3" fmla="*/ 6 h 36"/>
                  <a:gd name="T4" fmla="*/ 6 w 18"/>
                  <a:gd name="T5" fmla="*/ 6 h 36"/>
                  <a:gd name="T6" fmla="*/ 6 w 18"/>
                  <a:gd name="T7" fmla="*/ 0 h 36"/>
                  <a:gd name="T8" fmla="*/ 6 w 18"/>
                  <a:gd name="T9" fmla="*/ 6 h 36"/>
                  <a:gd name="T10" fmla="*/ 12 w 18"/>
                  <a:gd name="T11" fmla="*/ 12 h 36"/>
                  <a:gd name="T12" fmla="*/ 12 w 18"/>
                  <a:gd name="T13" fmla="*/ 18 h 36"/>
                  <a:gd name="T14" fmla="*/ 12 w 18"/>
                  <a:gd name="T15" fmla="*/ 24 h 36"/>
                  <a:gd name="T16" fmla="*/ 18 w 18"/>
                  <a:gd name="T17" fmla="*/ 24 h 36"/>
                  <a:gd name="T18" fmla="*/ 18 w 18"/>
                  <a:gd name="T19" fmla="*/ 18 h 36"/>
                  <a:gd name="T20" fmla="*/ 18 w 18"/>
                  <a:gd name="T21" fmla="*/ 24 h 36"/>
                  <a:gd name="T22" fmla="*/ 18 w 18"/>
                  <a:gd name="T23" fmla="*/ 30 h 36"/>
                  <a:gd name="T24" fmla="*/ 18 w 18"/>
                  <a:gd name="T25" fmla="*/ 36 h 36"/>
                  <a:gd name="T26" fmla="*/ 12 w 18"/>
                  <a:gd name="T27" fmla="*/ 36 h 36"/>
                  <a:gd name="T28" fmla="*/ 12 w 18"/>
                  <a:gd name="T29" fmla="*/ 30 h 36"/>
                  <a:gd name="T30" fmla="*/ 6 w 18"/>
                  <a:gd name="T31" fmla="*/ 30 h 36"/>
                  <a:gd name="T32" fmla="*/ 6 w 18"/>
                  <a:gd name="T33" fmla="*/ 24 h 36"/>
                  <a:gd name="T34" fmla="*/ 6 w 18"/>
                  <a:gd name="T35" fmla="*/ 30 h 36"/>
                  <a:gd name="T36" fmla="*/ 0 w 18"/>
                  <a:gd name="T37" fmla="*/ 24 h 36"/>
                  <a:gd name="T38" fmla="*/ 0 w 18"/>
                  <a:gd name="T39" fmla="*/ 18 h 36"/>
                  <a:gd name="T40" fmla="*/ 0 w 18"/>
                  <a:gd name="T41" fmla="*/ 12 h 36"/>
                  <a:gd name="T42" fmla="*/ 0 w 18"/>
                  <a:gd name="T43" fmla="*/ 6 h 36"/>
                  <a:gd name="T44" fmla="*/ 0 w 18"/>
                  <a:gd name="T45" fmla="*/ 12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8"/>
                  <a:gd name="T70" fmla="*/ 0 h 36"/>
                  <a:gd name="T71" fmla="*/ 18 w 18"/>
                  <a:gd name="T72" fmla="*/ 36 h 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2" name="Freeform 60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auto">
            <a:xfrm>
              <a:off x="3279" y="2407"/>
              <a:ext cx="81" cy="76"/>
            </a:xfrm>
            <a:custGeom>
              <a:avLst/>
              <a:gdLst>
                <a:gd name="T0" fmla="*/ 42 w 96"/>
                <a:gd name="T1" fmla="*/ 18 h 90"/>
                <a:gd name="T2" fmla="*/ 48 w 96"/>
                <a:gd name="T3" fmla="*/ 12 h 90"/>
                <a:gd name="T4" fmla="*/ 48 w 96"/>
                <a:gd name="T5" fmla="*/ 24 h 90"/>
                <a:gd name="T6" fmla="*/ 54 w 96"/>
                <a:gd name="T7" fmla="*/ 18 h 90"/>
                <a:gd name="T8" fmla="*/ 60 w 96"/>
                <a:gd name="T9" fmla="*/ 12 h 90"/>
                <a:gd name="T10" fmla="*/ 66 w 96"/>
                <a:gd name="T11" fmla="*/ 6 h 90"/>
                <a:gd name="T12" fmla="*/ 72 w 96"/>
                <a:gd name="T13" fmla="*/ 0 h 90"/>
                <a:gd name="T14" fmla="*/ 78 w 96"/>
                <a:gd name="T15" fmla="*/ 6 h 90"/>
                <a:gd name="T16" fmla="*/ 84 w 96"/>
                <a:gd name="T17" fmla="*/ 12 h 90"/>
                <a:gd name="T18" fmla="*/ 90 w 96"/>
                <a:gd name="T19" fmla="*/ 18 h 90"/>
                <a:gd name="T20" fmla="*/ 96 w 96"/>
                <a:gd name="T21" fmla="*/ 30 h 90"/>
                <a:gd name="T22" fmla="*/ 96 w 96"/>
                <a:gd name="T23" fmla="*/ 42 h 90"/>
                <a:gd name="T24" fmla="*/ 90 w 96"/>
                <a:gd name="T25" fmla="*/ 48 h 90"/>
                <a:gd name="T26" fmla="*/ 96 w 96"/>
                <a:gd name="T27" fmla="*/ 54 h 90"/>
                <a:gd name="T28" fmla="*/ 96 w 96"/>
                <a:gd name="T29" fmla="*/ 66 h 90"/>
                <a:gd name="T30" fmla="*/ 84 w 96"/>
                <a:gd name="T31" fmla="*/ 72 h 90"/>
                <a:gd name="T32" fmla="*/ 84 w 96"/>
                <a:gd name="T33" fmla="*/ 72 h 90"/>
                <a:gd name="T34" fmla="*/ 78 w 96"/>
                <a:gd name="T35" fmla="*/ 66 h 90"/>
                <a:gd name="T36" fmla="*/ 66 w 96"/>
                <a:gd name="T37" fmla="*/ 66 h 90"/>
                <a:gd name="T38" fmla="*/ 54 w 96"/>
                <a:gd name="T39" fmla="*/ 66 h 90"/>
                <a:gd name="T40" fmla="*/ 48 w 96"/>
                <a:gd name="T41" fmla="*/ 72 h 90"/>
                <a:gd name="T42" fmla="*/ 48 w 96"/>
                <a:gd name="T43" fmla="*/ 84 h 90"/>
                <a:gd name="T44" fmla="*/ 42 w 96"/>
                <a:gd name="T45" fmla="*/ 90 h 90"/>
                <a:gd name="T46" fmla="*/ 42 w 96"/>
                <a:gd name="T47" fmla="*/ 90 h 90"/>
                <a:gd name="T48" fmla="*/ 30 w 96"/>
                <a:gd name="T49" fmla="*/ 90 h 90"/>
                <a:gd name="T50" fmla="*/ 18 w 96"/>
                <a:gd name="T51" fmla="*/ 84 h 90"/>
                <a:gd name="T52" fmla="*/ 18 w 96"/>
                <a:gd name="T53" fmla="*/ 84 h 90"/>
                <a:gd name="T54" fmla="*/ 12 w 96"/>
                <a:gd name="T55" fmla="*/ 78 h 90"/>
                <a:gd name="T56" fmla="*/ 6 w 96"/>
                <a:gd name="T57" fmla="*/ 84 h 90"/>
                <a:gd name="T58" fmla="*/ 0 w 96"/>
                <a:gd name="T59" fmla="*/ 78 h 90"/>
                <a:gd name="T60" fmla="*/ 0 w 96"/>
                <a:gd name="T61" fmla="*/ 66 h 90"/>
                <a:gd name="T62" fmla="*/ 6 w 96"/>
                <a:gd name="T63" fmla="*/ 60 h 90"/>
                <a:gd name="T64" fmla="*/ 12 w 96"/>
                <a:gd name="T65" fmla="*/ 54 h 90"/>
                <a:gd name="T66" fmla="*/ 12 w 96"/>
                <a:gd name="T67" fmla="*/ 42 h 90"/>
                <a:gd name="T68" fmla="*/ 18 w 96"/>
                <a:gd name="T69" fmla="*/ 36 h 90"/>
                <a:gd name="T70" fmla="*/ 18 w 96"/>
                <a:gd name="T71" fmla="*/ 24 h 90"/>
                <a:gd name="T72" fmla="*/ 30 w 96"/>
                <a:gd name="T73" fmla="*/ 24 h 90"/>
                <a:gd name="T74" fmla="*/ 36 w 96"/>
                <a:gd name="T75" fmla="*/ 18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6"/>
                <a:gd name="T115" fmla="*/ 0 h 90"/>
                <a:gd name="T116" fmla="*/ 96 w 96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61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4477" y="3207"/>
              <a:ext cx="21" cy="26"/>
            </a:xfrm>
            <a:custGeom>
              <a:avLst/>
              <a:gdLst>
                <a:gd name="T0" fmla="*/ 12 w 24"/>
                <a:gd name="T1" fmla="*/ 0 h 30"/>
                <a:gd name="T2" fmla="*/ 18 w 24"/>
                <a:gd name="T3" fmla="*/ 0 h 30"/>
                <a:gd name="T4" fmla="*/ 18 w 24"/>
                <a:gd name="T5" fmla="*/ 6 h 30"/>
                <a:gd name="T6" fmla="*/ 24 w 24"/>
                <a:gd name="T7" fmla="*/ 6 h 30"/>
                <a:gd name="T8" fmla="*/ 24 w 24"/>
                <a:gd name="T9" fmla="*/ 12 h 30"/>
                <a:gd name="T10" fmla="*/ 24 w 24"/>
                <a:gd name="T11" fmla="*/ 6 h 30"/>
                <a:gd name="T12" fmla="*/ 24 w 24"/>
                <a:gd name="T13" fmla="*/ 12 h 30"/>
                <a:gd name="T14" fmla="*/ 24 w 24"/>
                <a:gd name="T15" fmla="*/ 18 h 30"/>
                <a:gd name="T16" fmla="*/ 18 w 24"/>
                <a:gd name="T17" fmla="*/ 18 h 30"/>
                <a:gd name="T18" fmla="*/ 18 w 24"/>
                <a:gd name="T19" fmla="*/ 24 h 30"/>
                <a:gd name="T20" fmla="*/ 12 w 24"/>
                <a:gd name="T21" fmla="*/ 24 h 30"/>
                <a:gd name="T22" fmla="*/ 12 w 24"/>
                <a:gd name="T23" fmla="*/ 30 h 30"/>
                <a:gd name="T24" fmla="*/ 6 w 24"/>
                <a:gd name="T25" fmla="*/ 24 h 30"/>
                <a:gd name="T26" fmla="*/ 0 w 24"/>
                <a:gd name="T27" fmla="*/ 24 h 30"/>
                <a:gd name="T28" fmla="*/ 6 w 24"/>
                <a:gd name="T29" fmla="*/ 24 h 30"/>
                <a:gd name="T30" fmla="*/ 0 w 24"/>
                <a:gd name="T31" fmla="*/ 18 h 30"/>
                <a:gd name="T32" fmla="*/ 6 w 24"/>
                <a:gd name="T33" fmla="*/ 18 h 30"/>
                <a:gd name="T34" fmla="*/ 0 w 24"/>
                <a:gd name="T35" fmla="*/ 18 h 30"/>
                <a:gd name="T36" fmla="*/ 6 w 24"/>
                <a:gd name="T37" fmla="*/ 18 h 30"/>
                <a:gd name="T38" fmla="*/ 0 w 24"/>
                <a:gd name="T39" fmla="*/ 18 h 30"/>
                <a:gd name="T40" fmla="*/ 6 w 24"/>
                <a:gd name="T41" fmla="*/ 18 h 30"/>
                <a:gd name="T42" fmla="*/ 0 w 24"/>
                <a:gd name="T43" fmla="*/ 18 h 30"/>
                <a:gd name="T44" fmla="*/ 6 w 24"/>
                <a:gd name="T45" fmla="*/ 12 h 30"/>
                <a:gd name="T46" fmla="*/ 12 w 24"/>
                <a:gd name="T47" fmla="*/ 6 h 30"/>
                <a:gd name="T48" fmla="*/ 12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0"/>
                <a:gd name="T77" fmla="*/ 24 w 24"/>
                <a:gd name="T78" fmla="*/ 30 h 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62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4391" y="3243"/>
              <a:ext cx="25" cy="25"/>
            </a:xfrm>
            <a:custGeom>
              <a:avLst/>
              <a:gdLst>
                <a:gd name="T0" fmla="*/ 0 w 30"/>
                <a:gd name="T1" fmla="*/ 6 h 30"/>
                <a:gd name="T2" fmla="*/ 6 w 30"/>
                <a:gd name="T3" fmla="*/ 6 h 30"/>
                <a:gd name="T4" fmla="*/ 6 w 30"/>
                <a:gd name="T5" fmla="*/ 0 h 30"/>
                <a:gd name="T6" fmla="*/ 12 w 30"/>
                <a:gd name="T7" fmla="*/ 0 h 30"/>
                <a:gd name="T8" fmla="*/ 18 w 30"/>
                <a:gd name="T9" fmla="*/ 0 h 30"/>
                <a:gd name="T10" fmla="*/ 18 w 30"/>
                <a:gd name="T11" fmla="*/ 6 h 30"/>
                <a:gd name="T12" fmla="*/ 24 w 30"/>
                <a:gd name="T13" fmla="*/ 6 h 30"/>
                <a:gd name="T14" fmla="*/ 24 w 30"/>
                <a:gd name="T15" fmla="*/ 12 h 30"/>
                <a:gd name="T16" fmla="*/ 30 w 30"/>
                <a:gd name="T17" fmla="*/ 18 h 30"/>
                <a:gd name="T18" fmla="*/ 30 w 30"/>
                <a:gd name="T19" fmla="*/ 24 h 30"/>
                <a:gd name="T20" fmla="*/ 24 w 30"/>
                <a:gd name="T21" fmla="*/ 24 h 30"/>
                <a:gd name="T22" fmla="*/ 18 w 30"/>
                <a:gd name="T23" fmla="*/ 30 h 30"/>
                <a:gd name="T24" fmla="*/ 18 w 30"/>
                <a:gd name="T25" fmla="*/ 24 h 30"/>
                <a:gd name="T26" fmla="*/ 18 w 30"/>
                <a:gd name="T27" fmla="*/ 30 h 30"/>
                <a:gd name="T28" fmla="*/ 18 w 30"/>
                <a:gd name="T29" fmla="*/ 24 h 30"/>
                <a:gd name="T30" fmla="*/ 12 w 30"/>
                <a:gd name="T31" fmla="*/ 24 h 30"/>
                <a:gd name="T32" fmla="*/ 6 w 30"/>
                <a:gd name="T33" fmla="*/ 24 h 30"/>
                <a:gd name="T34" fmla="*/ 6 w 30"/>
                <a:gd name="T35" fmla="*/ 18 h 30"/>
                <a:gd name="T36" fmla="*/ 0 w 30"/>
                <a:gd name="T37" fmla="*/ 18 h 30"/>
                <a:gd name="T38" fmla="*/ 0 w 30"/>
                <a:gd name="T39" fmla="*/ 12 h 30"/>
                <a:gd name="T40" fmla="*/ 0 w 30"/>
                <a:gd name="T41" fmla="*/ 6 h 30"/>
                <a:gd name="T42" fmla="*/ 6 w 30"/>
                <a:gd name="T43" fmla="*/ 6 h 30"/>
                <a:gd name="T44" fmla="*/ 0 w 30"/>
                <a:gd name="T45" fmla="*/ 6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30"/>
                <a:gd name="T71" fmla="*/ 30 w 30"/>
                <a:gd name="T72" fmla="*/ 30 h 3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5" name="Group 63"/>
            <p:cNvGrpSpPr>
              <a:grpSpLocks/>
            </p:cNvGrpSpPr>
            <p:nvPr/>
          </p:nvGrpSpPr>
          <p:grpSpPr bwMode="auto">
            <a:xfrm>
              <a:off x="4396" y="2524"/>
              <a:ext cx="40" cy="143"/>
              <a:chOff x="4396" y="2524"/>
              <a:chExt cx="40" cy="143"/>
            </a:xfrm>
            <a:grpFill/>
          </p:grpSpPr>
          <p:sp>
            <p:nvSpPr>
              <p:cNvPr id="157" name="Freeform 64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0 w 6"/>
                  <a:gd name="T5" fmla="*/ 6 h 12"/>
                  <a:gd name="T6" fmla="*/ 6 w 6"/>
                  <a:gd name="T7" fmla="*/ 0 h 12"/>
                  <a:gd name="T8" fmla="*/ 6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8" name="Freeform 65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6 w 6"/>
                  <a:gd name="T2" fmla="*/ 0 w 6"/>
                  <a:gd name="T3" fmla="*/ 0 60000 65536"/>
                  <a:gd name="T4" fmla="*/ 0 60000 65536"/>
                  <a:gd name="T5" fmla="*/ 0 60000 65536"/>
                  <a:gd name="T6" fmla="*/ 0 w 6"/>
                  <a:gd name="T7" fmla="*/ 6 w 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9" name="Freeform 66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0" name="Freeform 67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1" name="Freeform 68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2" name="Freeform 69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3" name="Freeform 70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46" name="Group 71"/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989" y="1637"/>
              <a:ext cx="113" cy="102"/>
              <a:chOff x="989" y="1637"/>
              <a:chExt cx="113" cy="102"/>
            </a:xfrm>
            <a:grpFill/>
          </p:grpSpPr>
          <p:sp>
            <p:nvSpPr>
              <p:cNvPr id="147" name="Freeform 72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56" y="1718"/>
                <a:ext cx="15" cy="16"/>
              </a:xfrm>
              <a:custGeom>
                <a:avLst/>
                <a:gdLst>
                  <a:gd name="T0" fmla="*/ 0 w 18"/>
                  <a:gd name="T1" fmla="*/ 12 h 18"/>
                  <a:gd name="T2" fmla="*/ 0 w 18"/>
                  <a:gd name="T3" fmla="*/ 6 h 18"/>
                  <a:gd name="T4" fmla="*/ 0 w 18"/>
                  <a:gd name="T5" fmla="*/ 0 h 18"/>
                  <a:gd name="T6" fmla="*/ 6 w 18"/>
                  <a:gd name="T7" fmla="*/ 0 h 18"/>
                  <a:gd name="T8" fmla="*/ 0 w 18"/>
                  <a:gd name="T9" fmla="*/ 0 h 18"/>
                  <a:gd name="T10" fmla="*/ 6 w 18"/>
                  <a:gd name="T11" fmla="*/ 0 h 18"/>
                  <a:gd name="T12" fmla="*/ 6 w 18"/>
                  <a:gd name="T13" fmla="*/ 6 h 18"/>
                  <a:gd name="T14" fmla="*/ 6 w 18"/>
                  <a:gd name="T15" fmla="*/ 0 h 18"/>
                  <a:gd name="T16" fmla="*/ 6 w 18"/>
                  <a:gd name="T17" fmla="*/ 6 h 18"/>
                  <a:gd name="T18" fmla="*/ 12 w 18"/>
                  <a:gd name="T19" fmla="*/ 6 h 18"/>
                  <a:gd name="T20" fmla="*/ 12 w 18"/>
                  <a:gd name="T21" fmla="*/ 12 h 18"/>
                  <a:gd name="T22" fmla="*/ 18 w 18"/>
                  <a:gd name="T23" fmla="*/ 12 h 18"/>
                  <a:gd name="T24" fmla="*/ 12 w 18"/>
                  <a:gd name="T25" fmla="*/ 12 h 18"/>
                  <a:gd name="T26" fmla="*/ 18 w 18"/>
                  <a:gd name="T27" fmla="*/ 12 h 18"/>
                  <a:gd name="T28" fmla="*/ 18 w 18"/>
                  <a:gd name="T29" fmla="*/ 18 h 18"/>
                  <a:gd name="T30" fmla="*/ 12 w 18"/>
                  <a:gd name="T31" fmla="*/ 12 h 18"/>
                  <a:gd name="T32" fmla="*/ 12 w 18"/>
                  <a:gd name="T33" fmla="*/ 18 h 18"/>
                  <a:gd name="T34" fmla="*/ 6 w 18"/>
                  <a:gd name="T35" fmla="*/ 18 h 18"/>
                  <a:gd name="T36" fmla="*/ 0 w 18"/>
                  <a:gd name="T37" fmla="*/ 18 h 18"/>
                  <a:gd name="T38" fmla="*/ 0 w 18"/>
                  <a:gd name="T39" fmla="*/ 12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18"/>
                  <a:gd name="T62" fmla="*/ 18 w 18"/>
                  <a:gd name="T63" fmla="*/ 18 h 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18">
                    <a:moveTo>
                      <a:pt x="0" y="1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8" name="Freeform 73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00" y="1647"/>
                <a:ext cx="10" cy="10"/>
              </a:xfrm>
              <a:custGeom>
                <a:avLst/>
                <a:gdLst>
                  <a:gd name="T0" fmla="*/ 6 w 12"/>
                  <a:gd name="T1" fmla="*/ 6 h 12"/>
                  <a:gd name="T2" fmla="*/ 6 w 12"/>
                  <a:gd name="T3" fmla="*/ 0 h 12"/>
                  <a:gd name="T4" fmla="*/ 6 w 12"/>
                  <a:gd name="T5" fmla="*/ 6 h 12"/>
                  <a:gd name="T6" fmla="*/ 6 w 12"/>
                  <a:gd name="T7" fmla="*/ 0 h 12"/>
                  <a:gd name="T8" fmla="*/ 6 w 12"/>
                  <a:gd name="T9" fmla="*/ 6 h 12"/>
                  <a:gd name="T10" fmla="*/ 12 w 12"/>
                  <a:gd name="T11" fmla="*/ 6 h 12"/>
                  <a:gd name="T12" fmla="*/ 6 w 12"/>
                  <a:gd name="T13" fmla="*/ 6 h 12"/>
                  <a:gd name="T14" fmla="*/ 6 w 12"/>
                  <a:gd name="T15" fmla="*/ 12 h 12"/>
                  <a:gd name="T16" fmla="*/ 0 w 12"/>
                  <a:gd name="T17" fmla="*/ 12 h 12"/>
                  <a:gd name="T18" fmla="*/ 0 w 12"/>
                  <a:gd name="T19" fmla="*/ 6 h 12"/>
                  <a:gd name="T20" fmla="*/ 6 w 12"/>
                  <a:gd name="T21" fmla="*/ 6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12"/>
                  <a:gd name="T35" fmla="*/ 12 w 12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12">
                    <a:moveTo>
                      <a:pt x="6" y="6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9" name="Rectangle 74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76" y="1718"/>
                <a:ext cx="5" cy="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0" name="Freeform 75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10" y="1652"/>
                <a:ext cx="5" cy="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6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1" name="Freeform 76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989" y="1637"/>
                <a:ext cx="16" cy="15"/>
              </a:xfrm>
              <a:custGeom>
                <a:avLst/>
                <a:gdLst>
                  <a:gd name="T0" fmla="*/ 18 w 18"/>
                  <a:gd name="T1" fmla="*/ 6 h 18"/>
                  <a:gd name="T2" fmla="*/ 12 w 18"/>
                  <a:gd name="T3" fmla="*/ 12 h 18"/>
                  <a:gd name="T4" fmla="*/ 6 w 18"/>
                  <a:gd name="T5" fmla="*/ 12 h 18"/>
                  <a:gd name="T6" fmla="*/ 6 w 18"/>
                  <a:gd name="T7" fmla="*/ 18 h 18"/>
                  <a:gd name="T8" fmla="*/ 6 w 18"/>
                  <a:gd name="T9" fmla="*/ 12 h 18"/>
                  <a:gd name="T10" fmla="*/ 6 w 18"/>
                  <a:gd name="T11" fmla="*/ 18 h 18"/>
                  <a:gd name="T12" fmla="*/ 6 w 18"/>
                  <a:gd name="T13" fmla="*/ 12 h 18"/>
                  <a:gd name="T14" fmla="*/ 0 w 18"/>
                  <a:gd name="T15" fmla="*/ 18 h 18"/>
                  <a:gd name="T16" fmla="*/ 0 w 18"/>
                  <a:gd name="T17" fmla="*/ 12 h 18"/>
                  <a:gd name="T18" fmla="*/ 0 w 18"/>
                  <a:gd name="T19" fmla="*/ 6 h 18"/>
                  <a:gd name="T20" fmla="*/ 6 w 18"/>
                  <a:gd name="T21" fmla="*/ 6 h 18"/>
                  <a:gd name="T22" fmla="*/ 6 w 18"/>
                  <a:gd name="T23" fmla="*/ 0 h 18"/>
                  <a:gd name="T24" fmla="*/ 12 w 18"/>
                  <a:gd name="T25" fmla="*/ 0 h 18"/>
                  <a:gd name="T26" fmla="*/ 12 w 18"/>
                  <a:gd name="T27" fmla="*/ 6 h 18"/>
                  <a:gd name="T28" fmla="*/ 18 w 18"/>
                  <a:gd name="T29" fmla="*/ 6 h 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8"/>
                  <a:gd name="T46" fmla="*/ 0 h 18"/>
                  <a:gd name="T47" fmla="*/ 18 w 18"/>
                  <a:gd name="T48" fmla="*/ 18 h 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8" h="1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2" name="Freeform 77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5" y="1734"/>
                <a:ext cx="0" cy="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3" name="Freeform 78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5" y="1657"/>
                <a:ext cx="20" cy="10"/>
              </a:xfrm>
              <a:custGeom>
                <a:avLst/>
                <a:gdLst>
                  <a:gd name="T0" fmla="*/ 6 w 24"/>
                  <a:gd name="T1" fmla="*/ 6 h 12"/>
                  <a:gd name="T2" fmla="*/ 12 w 24"/>
                  <a:gd name="T3" fmla="*/ 6 h 12"/>
                  <a:gd name="T4" fmla="*/ 18 w 24"/>
                  <a:gd name="T5" fmla="*/ 6 h 12"/>
                  <a:gd name="T6" fmla="*/ 24 w 24"/>
                  <a:gd name="T7" fmla="*/ 6 h 12"/>
                  <a:gd name="T8" fmla="*/ 24 w 24"/>
                  <a:gd name="T9" fmla="*/ 12 h 12"/>
                  <a:gd name="T10" fmla="*/ 18 w 24"/>
                  <a:gd name="T11" fmla="*/ 6 h 12"/>
                  <a:gd name="T12" fmla="*/ 18 w 24"/>
                  <a:gd name="T13" fmla="*/ 12 h 12"/>
                  <a:gd name="T14" fmla="*/ 18 w 24"/>
                  <a:gd name="T15" fmla="*/ 6 h 12"/>
                  <a:gd name="T16" fmla="*/ 12 w 24"/>
                  <a:gd name="T17" fmla="*/ 6 h 12"/>
                  <a:gd name="T18" fmla="*/ 12 w 24"/>
                  <a:gd name="T19" fmla="*/ 12 h 12"/>
                  <a:gd name="T20" fmla="*/ 6 w 24"/>
                  <a:gd name="T21" fmla="*/ 12 h 12"/>
                  <a:gd name="T22" fmla="*/ 6 w 24"/>
                  <a:gd name="T23" fmla="*/ 6 h 12"/>
                  <a:gd name="T24" fmla="*/ 0 w 24"/>
                  <a:gd name="T25" fmla="*/ 6 h 12"/>
                  <a:gd name="T26" fmla="*/ 6 w 24"/>
                  <a:gd name="T27" fmla="*/ 6 h 12"/>
                  <a:gd name="T28" fmla="*/ 6 w 24"/>
                  <a:gd name="T29" fmla="*/ 0 h 12"/>
                  <a:gd name="T30" fmla="*/ 6 w 24"/>
                  <a:gd name="T31" fmla="*/ 6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12"/>
                  <a:gd name="T50" fmla="*/ 24 w 24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12">
                    <a:moveTo>
                      <a:pt x="6" y="6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4" name="Freeform 79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86" y="1652"/>
                <a:ext cx="5" cy="10"/>
              </a:xfrm>
              <a:custGeom>
                <a:avLst/>
                <a:gdLst>
                  <a:gd name="T0" fmla="*/ 6 w 6"/>
                  <a:gd name="T1" fmla="*/ 0 h 12"/>
                  <a:gd name="T2" fmla="*/ 6 w 6"/>
                  <a:gd name="T3" fmla="*/ 6 h 12"/>
                  <a:gd name="T4" fmla="*/ 6 w 6"/>
                  <a:gd name="T5" fmla="*/ 12 h 12"/>
                  <a:gd name="T6" fmla="*/ 6 w 6"/>
                  <a:gd name="T7" fmla="*/ 6 h 12"/>
                  <a:gd name="T8" fmla="*/ 0 w 6"/>
                  <a:gd name="T9" fmla="*/ 6 h 12"/>
                  <a:gd name="T10" fmla="*/ 0 w 6"/>
                  <a:gd name="T11" fmla="*/ 0 h 12"/>
                  <a:gd name="T12" fmla="*/ 6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2"/>
                  <a:gd name="T23" fmla="*/ 6 w 6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2">
                    <a:moveTo>
                      <a:pt x="6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" name="Freeform 80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25" y="1728"/>
                <a:ext cx="10" cy="11"/>
              </a:xfrm>
              <a:custGeom>
                <a:avLst/>
                <a:gdLst>
                  <a:gd name="T0" fmla="*/ 0 w 12"/>
                  <a:gd name="T1" fmla="*/ 0 h 12"/>
                  <a:gd name="T2" fmla="*/ 6 w 12"/>
                  <a:gd name="T3" fmla="*/ 0 h 12"/>
                  <a:gd name="T4" fmla="*/ 6 w 12"/>
                  <a:gd name="T5" fmla="*/ 6 h 12"/>
                  <a:gd name="T6" fmla="*/ 12 w 12"/>
                  <a:gd name="T7" fmla="*/ 6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2"/>
                  <a:gd name="T26" fmla="*/ 12 w 1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2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" name="Freeform 81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91" y="1677"/>
                <a:ext cx="11" cy="11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2"/>
                  <a:gd name="T29" fmla="*/ 12 w 12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869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8964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TIVITES </a:t>
            </a:r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AFRIQU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grpSp>
        <p:nvGrpSpPr>
          <p:cNvPr id="92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411760" y="1613050"/>
            <a:ext cx="5142021" cy="4840291"/>
            <a:chOff x="989" y="785"/>
            <a:chExt cx="3509" cy="3049"/>
          </a:xfrm>
          <a:solidFill>
            <a:schemeClr val="accent1"/>
          </a:solidFill>
        </p:grpSpPr>
        <p:sp>
          <p:nvSpPr>
            <p:cNvPr id="93" name="Freeform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1540" y="1310"/>
              <a:ext cx="699" cy="622"/>
            </a:xfrm>
            <a:custGeom>
              <a:avLst/>
              <a:gdLst>
                <a:gd name="T0" fmla="*/ 24 w 822"/>
                <a:gd name="T1" fmla="*/ 492 h 732"/>
                <a:gd name="T2" fmla="*/ 36 w 822"/>
                <a:gd name="T3" fmla="*/ 462 h 732"/>
                <a:gd name="T4" fmla="*/ 66 w 822"/>
                <a:gd name="T5" fmla="*/ 486 h 732"/>
                <a:gd name="T6" fmla="*/ 84 w 822"/>
                <a:gd name="T7" fmla="*/ 474 h 732"/>
                <a:gd name="T8" fmla="*/ 126 w 822"/>
                <a:gd name="T9" fmla="*/ 474 h 732"/>
                <a:gd name="T10" fmla="*/ 192 w 822"/>
                <a:gd name="T11" fmla="*/ 468 h 732"/>
                <a:gd name="T12" fmla="*/ 312 w 822"/>
                <a:gd name="T13" fmla="*/ 468 h 732"/>
                <a:gd name="T14" fmla="*/ 324 w 822"/>
                <a:gd name="T15" fmla="*/ 354 h 732"/>
                <a:gd name="T16" fmla="*/ 312 w 822"/>
                <a:gd name="T17" fmla="*/ 228 h 732"/>
                <a:gd name="T18" fmla="*/ 294 w 822"/>
                <a:gd name="T19" fmla="*/ 78 h 732"/>
                <a:gd name="T20" fmla="*/ 414 w 822"/>
                <a:gd name="T21" fmla="*/ 24 h 732"/>
                <a:gd name="T22" fmla="*/ 612 w 822"/>
                <a:gd name="T23" fmla="*/ 156 h 732"/>
                <a:gd name="T24" fmla="*/ 690 w 822"/>
                <a:gd name="T25" fmla="*/ 216 h 732"/>
                <a:gd name="T26" fmla="*/ 702 w 822"/>
                <a:gd name="T27" fmla="*/ 234 h 732"/>
                <a:gd name="T28" fmla="*/ 732 w 822"/>
                <a:gd name="T29" fmla="*/ 240 h 732"/>
                <a:gd name="T30" fmla="*/ 768 w 822"/>
                <a:gd name="T31" fmla="*/ 252 h 732"/>
                <a:gd name="T32" fmla="*/ 768 w 822"/>
                <a:gd name="T33" fmla="*/ 276 h 732"/>
                <a:gd name="T34" fmla="*/ 822 w 822"/>
                <a:gd name="T35" fmla="*/ 288 h 732"/>
                <a:gd name="T36" fmla="*/ 804 w 822"/>
                <a:gd name="T37" fmla="*/ 456 h 732"/>
                <a:gd name="T38" fmla="*/ 786 w 822"/>
                <a:gd name="T39" fmla="*/ 480 h 732"/>
                <a:gd name="T40" fmla="*/ 648 w 822"/>
                <a:gd name="T41" fmla="*/ 498 h 732"/>
                <a:gd name="T42" fmla="*/ 618 w 822"/>
                <a:gd name="T43" fmla="*/ 498 h 732"/>
                <a:gd name="T44" fmla="*/ 558 w 822"/>
                <a:gd name="T45" fmla="*/ 504 h 732"/>
                <a:gd name="T46" fmla="*/ 504 w 822"/>
                <a:gd name="T47" fmla="*/ 534 h 732"/>
                <a:gd name="T48" fmla="*/ 468 w 822"/>
                <a:gd name="T49" fmla="*/ 558 h 732"/>
                <a:gd name="T50" fmla="*/ 450 w 822"/>
                <a:gd name="T51" fmla="*/ 558 h 732"/>
                <a:gd name="T52" fmla="*/ 438 w 822"/>
                <a:gd name="T53" fmla="*/ 588 h 732"/>
                <a:gd name="T54" fmla="*/ 408 w 822"/>
                <a:gd name="T55" fmla="*/ 576 h 732"/>
                <a:gd name="T56" fmla="*/ 396 w 822"/>
                <a:gd name="T57" fmla="*/ 594 h 732"/>
                <a:gd name="T58" fmla="*/ 384 w 822"/>
                <a:gd name="T59" fmla="*/ 612 h 732"/>
                <a:gd name="T60" fmla="*/ 378 w 822"/>
                <a:gd name="T61" fmla="*/ 636 h 732"/>
                <a:gd name="T62" fmla="*/ 348 w 822"/>
                <a:gd name="T63" fmla="*/ 648 h 732"/>
                <a:gd name="T64" fmla="*/ 348 w 822"/>
                <a:gd name="T65" fmla="*/ 660 h 732"/>
                <a:gd name="T66" fmla="*/ 348 w 822"/>
                <a:gd name="T67" fmla="*/ 672 h 732"/>
                <a:gd name="T68" fmla="*/ 342 w 822"/>
                <a:gd name="T69" fmla="*/ 702 h 732"/>
                <a:gd name="T70" fmla="*/ 318 w 822"/>
                <a:gd name="T71" fmla="*/ 720 h 732"/>
                <a:gd name="T72" fmla="*/ 306 w 822"/>
                <a:gd name="T73" fmla="*/ 726 h 732"/>
                <a:gd name="T74" fmla="*/ 300 w 822"/>
                <a:gd name="T75" fmla="*/ 714 h 732"/>
                <a:gd name="T76" fmla="*/ 294 w 822"/>
                <a:gd name="T77" fmla="*/ 714 h 732"/>
                <a:gd name="T78" fmla="*/ 282 w 822"/>
                <a:gd name="T79" fmla="*/ 720 h 732"/>
                <a:gd name="T80" fmla="*/ 246 w 822"/>
                <a:gd name="T81" fmla="*/ 732 h 732"/>
                <a:gd name="T82" fmla="*/ 228 w 822"/>
                <a:gd name="T83" fmla="*/ 720 h 732"/>
                <a:gd name="T84" fmla="*/ 204 w 822"/>
                <a:gd name="T85" fmla="*/ 726 h 732"/>
                <a:gd name="T86" fmla="*/ 198 w 822"/>
                <a:gd name="T87" fmla="*/ 690 h 732"/>
                <a:gd name="T88" fmla="*/ 186 w 822"/>
                <a:gd name="T89" fmla="*/ 684 h 732"/>
                <a:gd name="T90" fmla="*/ 180 w 822"/>
                <a:gd name="T91" fmla="*/ 660 h 732"/>
                <a:gd name="T92" fmla="*/ 168 w 822"/>
                <a:gd name="T93" fmla="*/ 636 h 732"/>
                <a:gd name="T94" fmla="*/ 144 w 822"/>
                <a:gd name="T95" fmla="*/ 618 h 732"/>
                <a:gd name="T96" fmla="*/ 138 w 822"/>
                <a:gd name="T97" fmla="*/ 630 h 732"/>
                <a:gd name="T98" fmla="*/ 120 w 822"/>
                <a:gd name="T99" fmla="*/ 636 h 732"/>
                <a:gd name="T100" fmla="*/ 96 w 822"/>
                <a:gd name="T101" fmla="*/ 636 h 732"/>
                <a:gd name="T102" fmla="*/ 72 w 822"/>
                <a:gd name="T103" fmla="*/ 642 h 732"/>
                <a:gd name="T104" fmla="*/ 54 w 822"/>
                <a:gd name="T105" fmla="*/ 636 h 732"/>
                <a:gd name="T106" fmla="*/ 42 w 822"/>
                <a:gd name="T107" fmla="*/ 624 h 732"/>
                <a:gd name="T108" fmla="*/ 42 w 822"/>
                <a:gd name="T109" fmla="*/ 594 h 732"/>
                <a:gd name="T110" fmla="*/ 18 w 822"/>
                <a:gd name="T111" fmla="*/ 576 h 732"/>
                <a:gd name="T112" fmla="*/ 12 w 822"/>
                <a:gd name="T113" fmla="*/ 540 h 732"/>
                <a:gd name="T114" fmla="*/ 6 w 822"/>
                <a:gd name="T115" fmla="*/ 516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22"/>
                <a:gd name="T175" fmla="*/ 0 h 732"/>
                <a:gd name="T176" fmla="*/ 822 w 822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22" h="732">
                  <a:moveTo>
                    <a:pt x="0" y="504"/>
                  </a:moveTo>
                  <a:lnTo>
                    <a:pt x="6" y="504"/>
                  </a:lnTo>
                  <a:lnTo>
                    <a:pt x="12" y="510"/>
                  </a:lnTo>
                  <a:lnTo>
                    <a:pt x="12" y="504"/>
                  </a:lnTo>
                  <a:lnTo>
                    <a:pt x="18" y="504"/>
                  </a:lnTo>
                  <a:lnTo>
                    <a:pt x="24" y="498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6" y="468"/>
                  </a:lnTo>
                  <a:lnTo>
                    <a:pt x="36" y="462"/>
                  </a:lnTo>
                  <a:lnTo>
                    <a:pt x="42" y="462"/>
                  </a:lnTo>
                  <a:lnTo>
                    <a:pt x="48" y="468"/>
                  </a:lnTo>
                  <a:lnTo>
                    <a:pt x="48" y="474"/>
                  </a:lnTo>
                  <a:lnTo>
                    <a:pt x="54" y="474"/>
                  </a:lnTo>
                  <a:lnTo>
                    <a:pt x="60" y="480"/>
                  </a:lnTo>
                  <a:lnTo>
                    <a:pt x="66" y="480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72" y="486"/>
                  </a:lnTo>
                  <a:lnTo>
                    <a:pt x="72" y="480"/>
                  </a:lnTo>
                  <a:lnTo>
                    <a:pt x="78" y="480"/>
                  </a:lnTo>
                  <a:lnTo>
                    <a:pt x="78" y="474"/>
                  </a:lnTo>
                  <a:lnTo>
                    <a:pt x="84" y="474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74"/>
                  </a:lnTo>
                  <a:lnTo>
                    <a:pt x="108" y="474"/>
                  </a:lnTo>
                  <a:lnTo>
                    <a:pt x="114" y="474"/>
                  </a:lnTo>
                  <a:lnTo>
                    <a:pt x="120" y="474"/>
                  </a:lnTo>
                  <a:lnTo>
                    <a:pt x="126" y="474"/>
                  </a:lnTo>
                  <a:lnTo>
                    <a:pt x="144" y="474"/>
                  </a:lnTo>
                  <a:lnTo>
                    <a:pt x="138" y="462"/>
                  </a:lnTo>
                  <a:lnTo>
                    <a:pt x="144" y="462"/>
                  </a:lnTo>
                  <a:lnTo>
                    <a:pt x="150" y="462"/>
                  </a:lnTo>
                  <a:lnTo>
                    <a:pt x="144" y="468"/>
                  </a:lnTo>
                  <a:lnTo>
                    <a:pt x="180" y="468"/>
                  </a:lnTo>
                  <a:lnTo>
                    <a:pt x="192" y="468"/>
                  </a:lnTo>
                  <a:lnTo>
                    <a:pt x="198" y="468"/>
                  </a:lnTo>
                  <a:lnTo>
                    <a:pt x="216" y="468"/>
                  </a:lnTo>
                  <a:lnTo>
                    <a:pt x="228" y="468"/>
                  </a:lnTo>
                  <a:lnTo>
                    <a:pt x="252" y="468"/>
                  </a:lnTo>
                  <a:lnTo>
                    <a:pt x="258" y="468"/>
                  </a:lnTo>
                  <a:lnTo>
                    <a:pt x="276" y="468"/>
                  </a:lnTo>
                  <a:lnTo>
                    <a:pt x="312" y="468"/>
                  </a:lnTo>
                  <a:lnTo>
                    <a:pt x="330" y="468"/>
                  </a:lnTo>
                  <a:lnTo>
                    <a:pt x="336" y="468"/>
                  </a:lnTo>
                  <a:lnTo>
                    <a:pt x="348" y="426"/>
                  </a:lnTo>
                  <a:lnTo>
                    <a:pt x="330" y="420"/>
                  </a:lnTo>
                  <a:lnTo>
                    <a:pt x="330" y="396"/>
                  </a:lnTo>
                  <a:lnTo>
                    <a:pt x="324" y="372"/>
                  </a:lnTo>
                  <a:lnTo>
                    <a:pt x="324" y="354"/>
                  </a:lnTo>
                  <a:lnTo>
                    <a:pt x="324" y="348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28"/>
                  </a:lnTo>
                  <a:lnTo>
                    <a:pt x="306" y="192"/>
                  </a:lnTo>
                  <a:lnTo>
                    <a:pt x="300" y="138"/>
                  </a:lnTo>
                  <a:lnTo>
                    <a:pt x="300" y="114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294" y="78"/>
                  </a:lnTo>
                  <a:lnTo>
                    <a:pt x="294" y="66"/>
                  </a:lnTo>
                  <a:lnTo>
                    <a:pt x="288" y="48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360" y="0"/>
                  </a:lnTo>
                  <a:lnTo>
                    <a:pt x="372" y="0"/>
                  </a:lnTo>
                  <a:lnTo>
                    <a:pt x="414" y="24"/>
                  </a:lnTo>
                  <a:lnTo>
                    <a:pt x="438" y="36"/>
                  </a:lnTo>
                  <a:lnTo>
                    <a:pt x="444" y="48"/>
                  </a:lnTo>
                  <a:lnTo>
                    <a:pt x="462" y="54"/>
                  </a:lnTo>
                  <a:lnTo>
                    <a:pt x="528" y="96"/>
                  </a:lnTo>
                  <a:lnTo>
                    <a:pt x="600" y="144"/>
                  </a:lnTo>
                  <a:lnTo>
                    <a:pt x="612" y="150"/>
                  </a:lnTo>
                  <a:lnTo>
                    <a:pt x="612" y="156"/>
                  </a:lnTo>
                  <a:lnTo>
                    <a:pt x="666" y="192"/>
                  </a:lnTo>
                  <a:lnTo>
                    <a:pt x="666" y="198"/>
                  </a:lnTo>
                  <a:lnTo>
                    <a:pt x="666" y="210"/>
                  </a:lnTo>
                  <a:lnTo>
                    <a:pt x="672" y="210"/>
                  </a:lnTo>
                  <a:lnTo>
                    <a:pt x="678" y="210"/>
                  </a:lnTo>
                  <a:lnTo>
                    <a:pt x="684" y="216"/>
                  </a:lnTo>
                  <a:lnTo>
                    <a:pt x="690" y="216"/>
                  </a:lnTo>
                  <a:lnTo>
                    <a:pt x="690" y="222"/>
                  </a:lnTo>
                  <a:lnTo>
                    <a:pt x="690" y="228"/>
                  </a:lnTo>
                  <a:lnTo>
                    <a:pt x="696" y="228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8" y="234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6" y="234"/>
                  </a:lnTo>
                  <a:lnTo>
                    <a:pt x="726" y="240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38" y="246"/>
                  </a:lnTo>
                  <a:lnTo>
                    <a:pt x="744" y="246"/>
                  </a:lnTo>
                  <a:lnTo>
                    <a:pt x="750" y="246"/>
                  </a:lnTo>
                  <a:lnTo>
                    <a:pt x="756" y="246"/>
                  </a:lnTo>
                  <a:lnTo>
                    <a:pt x="762" y="252"/>
                  </a:lnTo>
                  <a:lnTo>
                    <a:pt x="768" y="252"/>
                  </a:lnTo>
                  <a:lnTo>
                    <a:pt x="768" y="258"/>
                  </a:lnTo>
                  <a:lnTo>
                    <a:pt x="768" y="264"/>
                  </a:lnTo>
                  <a:lnTo>
                    <a:pt x="768" y="270"/>
                  </a:lnTo>
                  <a:lnTo>
                    <a:pt x="774" y="270"/>
                  </a:lnTo>
                  <a:lnTo>
                    <a:pt x="768" y="270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8" y="282"/>
                  </a:lnTo>
                  <a:lnTo>
                    <a:pt x="768" y="288"/>
                  </a:lnTo>
                  <a:lnTo>
                    <a:pt x="762" y="288"/>
                  </a:lnTo>
                  <a:lnTo>
                    <a:pt x="768" y="294"/>
                  </a:lnTo>
                  <a:lnTo>
                    <a:pt x="774" y="294"/>
                  </a:lnTo>
                  <a:lnTo>
                    <a:pt x="774" y="300"/>
                  </a:lnTo>
                  <a:lnTo>
                    <a:pt x="822" y="288"/>
                  </a:lnTo>
                  <a:lnTo>
                    <a:pt x="822" y="396"/>
                  </a:lnTo>
                  <a:lnTo>
                    <a:pt x="810" y="402"/>
                  </a:lnTo>
                  <a:lnTo>
                    <a:pt x="810" y="414"/>
                  </a:lnTo>
                  <a:lnTo>
                    <a:pt x="810" y="426"/>
                  </a:lnTo>
                  <a:lnTo>
                    <a:pt x="810" y="444"/>
                  </a:lnTo>
                  <a:lnTo>
                    <a:pt x="804" y="450"/>
                  </a:lnTo>
                  <a:lnTo>
                    <a:pt x="804" y="456"/>
                  </a:lnTo>
                  <a:lnTo>
                    <a:pt x="804" y="462"/>
                  </a:lnTo>
                  <a:lnTo>
                    <a:pt x="798" y="462"/>
                  </a:lnTo>
                  <a:lnTo>
                    <a:pt x="792" y="462"/>
                  </a:lnTo>
                  <a:lnTo>
                    <a:pt x="792" y="468"/>
                  </a:lnTo>
                  <a:lnTo>
                    <a:pt x="786" y="468"/>
                  </a:lnTo>
                  <a:lnTo>
                    <a:pt x="786" y="474"/>
                  </a:lnTo>
                  <a:lnTo>
                    <a:pt x="786" y="480"/>
                  </a:lnTo>
                  <a:lnTo>
                    <a:pt x="762" y="480"/>
                  </a:lnTo>
                  <a:lnTo>
                    <a:pt x="738" y="474"/>
                  </a:lnTo>
                  <a:lnTo>
                    <a:pt x="702" y="48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98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6" y="492"/>
                  </a:lnTo>
                  <a:lnTo>
                    <a:pt x="630" y="498"/>
                  </a:lnTo>
                  <a:lnTo>
                    <a:pt x="624" y="492"/>
                  </a:lnTo>
                  <a:lnTo>
                    <a:pt x="618" y="492"/>
                  </a:lnTo>
                  <a:lnTo>
                    <a:pt x="618" y="498"/>
                  </a:lnTo>
                  <a:lnTo>
                    <a:pt x="612" y="498"/>
                  </a:lnTo>
                  <a:lnTo>
                    <a:pt x="612" y="492"/>
                  </a:lnTo>
                  <a:lnTo>
                    <a:pt x="600" y="492"/>
                  </a:lnTo>
                  <a:lnTo>
                    <a:pt x="588" y="492"/>
                  </a:lnTo>
                  <a:lnTo>
                    <a:pt x="576" y="492"/>
                  </a:lnTo>
                  <a:lnTo>
                    <a:pt x="564" y="498"/>
                  </a:lnTo>
                  <a:lnTo>
                    <a:pt x="558" y="504"/>
                  </a:lnTo>
                  <a:lnTo>
                    <a:pt x="546" y="510"/>
                  </a:lnTo>
                  <a:lnTo>
                    <a:pt x="528" y="516"/>
                  </a:lnTo>
                  <a:lnTo>
                    <a:pt x="522" y="522"/>
                  </a:lnTo>
                  <a:lnTo>
                    <a:pt x="516" y="522"/>
                  </a:lnTo>
                  <a:lnTo>
                    <a:pt x="510" y="522"/>
                  </a:lnTo>
                  <a:lnTo>
                    <a:pt x="510" y="534"/>
                  </a:lnTo>
                  <a:lnTo>
                    <a:pt x="504" y="534"/>
                  </a:lnTo>
                  <a:lnTo>
                    <a:pt x="498" y="534"/>
                  </a:lnTo>
                  <a:lnTo>
                    <a:pt x="486" y="528"/>
                  </a:lnTo>
                  <a:lnTo>
                    <a:pt x="480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468" y="558"/>
                  </a:lnTo>
                  <a:lnTo>
                    <a:pt x="462" y="564"/>
                  </a:lnTo>
                  <a:lnTo>
                    <a:pt x="462" y="558"/>
                  </a:lnTo>
                  <a:lnTo>
                    <a:pt x="456" y="564"/>
                  </a:lnTo>
                  <a:lnTo>
                    <a:pt x="456" y="558"/>
                  </a:lnTo>
                  <a:lnTo>
                    <a:pt x="450" y="558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44" y="570"/>
                  </a:lnTo>
                  <a:lnTo>
                    <a:pt x="450" y="570"/>
                  </a:lnTo>
                  <a:lnTo>
                    <a:pt x="450" y="576"/>
                  </a:lnTo>
                  <a:lnTo>
                    <a:pt x="450" y="582"/>
                  </a:lnTo>
                  <a:lnTo>
                    <a:pt x="438" y="582"/>
                  </a:lnTo>
                  <a:lnTo>
                    <a:pt x="438" y="58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20" y="576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08" y="570"/>
                  </a:lnTo>
                  <a:lnTo>
                    <a:pt x="408" y="576"/>
                  </a:lnTo>
                  <a:lnTo>
                    <a:pt x="402" y="576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396" y="588"/>
                  </a:lnTo>
                  <a:lnTo>
                    <a:pt x="396" y="594"/>
                  </a:lnTo>
                  <a:lnTo>
                    <a:pt x="402" y="594"/>
                  </a:lnTo>
                  <a:lnTo>
                    <a:pt x="402" y="600"/>
                  </a:lnTo>
                  <a:lnTo>
                    <a:pt x="402" y="606"/>
                  </a:lnTo>
                  <a:lnTo>
                    <a:pt x="396" y="606"/>
                  </a:lnTo>
                  <a:lnTo>
                    <a:pt x="390" y="606"/>
                  </a:lnTo>
                  <a:lnTo>
                    <a:pt x="384" y="606"/>
                  </a:lnTo>
                  <a:lnTo>
                    <a:pt x="384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90" y="624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2" y="654"/>
                  </a:lnTo>
                  <a:lnTo>
                    <a:pt x="348" y="654"/>
                  </a:lnTo>
                  <a:lnTo>
                    <a:pt x="348" y="660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72"/>
                  </a:lnTo>
                  <a:lnTo>
                    <a:pt x="354" y="672"/>
                  </a:lnTo>
                  <a:lnTo>
                    <a:pt x="348" y="672"/>
                  </a:lnTo>
                  <a:lnTo>
                    <a:pt x="348" y="678"/>
                  </a:lnTo>
                  <a:lnTo>
                    <a:pt x="348" y="684"/>
                  </a:lnTo>
                  <a:lnTo>
                    <a:pt x="342" y="684"/>
                  </a:lnTo>
                  <a:lnTo>
                    <a:pt x="342" y="690"/>
                  </a:lnTo>
                  <a:lnTo>
                    <a:pt x="336" y="690"/>
                  </a:lnTo>
                  <a:lnTo>
                    <a:pt x="336" y="696"/>
                  </a:lnTo>
                  <a:lnTo>
                    <a:pt x="342" y="702"/>
                  </a:lnTo>
                  <a:lnTo>
                    <a:pt x="336" y="702"/>
                  </a:lnTo>
                  <a:lnTo>
                    <a:pt x="336" y="708"/>
                  </a:lnTo>
                  <a:lnTo>
                    <a:pt x="336" y="714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18" y="720"/>
                  </a:lnTo>
                  <a:lnTo>
                    <a:pt x="318" y="726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2"/>
                  </a:lnTo>
                  <a:lnTo>
                    <a:pt x="300" y="732"/>
                  </a:lnTo>
                  <a:lnTo>
                    <a:pt x="300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08"/>
                  </a:lnTo>
                  <a:lnTo>
                    <a:pt x="294" y="708"/>
                  </a:lnTo>
                  <a:lnTo>
                    <a:pt x="288" y="708"/>
                  </a:lnTo>
                  <a:lnTo>
                    <a:pt x="288" y="714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2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0" y="726"/>
                  </a:lnTo>
                  <a:lnTo>
                    <a:pt x="240" y="720"/>
                  </a:lnTo>
                  <a:lnTo>
                    <a:pt x="234" y="720"/>
                  </a:lnTo>
                  <a:lnTo>
                    <a:pt x="228" y="720"/>
                  </a:lnTo>
                  <a:lnTo>
                    <a:pt x="228" y="726"/>
                  </a:lnTo>
                  <a:lnTo>
                    <a:pt x="222" y="726"/>
                  </a:lnTo>
                  <a:lnTo>
                    <a:pt x="222" y="732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0" y="726"/>
                  </a:lnTo>
                  <a:lnTo>
                    <a:pt x="204" y="726"/>
                  </a:lnTo>
                  <a:lnTo>
                    <a:pt x="204" y="720"/>
                  </a:lnTo>
                  <a:lnTo>
                    <a:pt x="198" y="720"/>
                  </a:lnTo>
                  <a:lnTo>
                    <a:pt x="198" y="714"/>
                  </a:lnTo>
                  <a:lnTo>
                    <a:pt x="198" y="708"/>
                  </a:lnTo>
                  <a:lnTo>
                    <a:pt x="198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6" y="696"/>
                  </a:lnTo>
                  <a:lnTo>
                    <a:pt x="180" y="696"/>
                  </a:lnTo>
                  <a:lnTo>
                    <a:pt x="180" y="690"/>
                  </a:lnTo>
                  <a:lnTo>
                    <a:pt x="180" y="684"/>
                  </a:lnTo>
                  <a:lnTo>
                    <a:pt x="186" y="684"/>
                  </a:lnTo>
                  <a:lnTo>
                    <a:pt x="186" y="678"/>
                  </a:lnTo>
                  <a:lnTo>
                    <a:pt x="192" y="678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80" y="666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74" y="654"/>
                  </a:lnTo>
                  <a:lnTo>
                    <a:pt x="174" y="648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36"/>
                  </a:lnTo>
                  <a:lnTo>
                    <a:pt x="162" y="636"/>
                  </a:lnTo>
                  <a:lnTo>
                    <a:pt x="162" y="630"/>
                  </a:lnTo>
                  <a:lnTo>
                    <a:pt x="162" y="624"/>
                  </a:lnTo>
                  <a:lnTo>
                    <a:pt x="156" y="624"/>
                  </a:lnTo>
                  <a:lnTo>
                    <a:pt x="156" y="618"/>
                  </a:lnTo>
                  <a:lnTo>
                    <a:pt x="150" y="618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50" y="624"/>
                  </a:lnTo>
                  <a:lnTo>
                    <a:pt x="150" y="630"/>
                  </a:lnTo>
                  <a:lnTo>
                    <a:pt x="144" y="630"/>
                  </a:lnTo>
                  <a:lnTo>
                    <a:pt x="138" y="630"/>
                  </a:lnTo>
                  <a:lnTo>
                    <a:pt x="138" y="636"/>
                  </a:lnTo>
                  <a:lnTo>
                    <a:pt x="132" y="636"/>
                  </a:lnTo>
                  <a:lnTo>
                    <a:pt x="126" y="636"/>
                  </a:lnTo>
                  <a:lnTo>
                    <a:pt x="132" y="642"/>
                  </a:lnTo>
                  <a:lnTo>
                    <a:pt x="126" y="642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08" y="636"/>
                  </a:lnTo>
                  <a:lnTo>
                    <a:pt x="102" y="636"/>
                  </a:lnTo>
                  <a:lnTo>
                    <a:pt x="102" y="630"/>
                  </a:lnTo>
                  <a:lnTo>
                    <a:pt x="96" y="636"/>
                  </a:lnTo>
                  <a:lnTo>
                    <a:pt x="96" y="630"/>
                  </a:lnTo>
                  <a:lnTo>
                    <a:pt x="96" y="636"/>
                  </a:lnTo>
                  <a:lnTo>
                    <a:pt x="90" y="636"/>
                  </a:lnTo>
                  <a:lnTo>
                    <a:pt x="90" y="642"/>
                  </a:lnTo>
                  <a:lnTo>
                    <a:pt x="84" y="642"/>
                  </a:lnTo>
                  <a:lnTo>
                    <a:pt x="84" y="648"/>
                  </a:lnTo>
                  <a:lnTo>
                    <a:pt x="78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6" y="630"/>
                  </a:lnTo>
                  <a:lnTo>
                    <a:pt x="60" y="636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48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42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2" y="606"/>
                  </a:lnTo>
                  <a:lnTo>
                    <a:pt x="42" y="600"/>
                  </a:lnTo>
                  <a:lnTo>
                    <a:pt x="48" y="594"/>
                  </a:lnTo>
                  <a:lnTo>
                    <a:pt x="42" y="594"/>
                  </a:lnTo>
                  <a:lnTo>
                    <a:pt x="42" y="588"/>
                  </a:lnTo>
                  <a:lnTo>
                    <a:pt x="36" y="588"/>
                  </a:lnTo>
                  <a:lnTo>
                    <a:pt x="36" y="582"/>
                  </a:lnTo>
                  <a:lnTo>
                    <a:pt x="36" y="576"/>
                  </a:lnTo>
                  <a:lnTo>
                    <a:pt x="30" y="576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2" y="546"/>
                  </a:lnTo>
                  <a:lnTo>
                    <a:pt x="12" y="540"/>
                  </a:lnTo>
                  <a:lnTo>
                    <a:pt x="12" y="534"/>
                  </a:lnTo>
                  <a:lnTo>
                    <a:pt x="12" y="528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0" y="510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6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504" y="846"/>
              <a:ext cx="510" cy="352"/>
            </a:xfrm>
            <a:custGeom>
              <a:avLst/>
              <a:gdLst>
                <a:gd name="T0" fmla="*/ 12 w 600"/>
                <a:gd name="T1" fmla="*/ 396 h 414"/>
                <a:gd name="T2" fmla="*/ 42 w 600"/>
                <a:gd name="T3" fmla="*/ 390 h 414"/>
                <a:gd name="T4" fmla="*/ 66 w 600"/>
                <a:gd name="T5" fmla="*/ 384 h 414"/>
                <a:gd name="T6" fmla="*/ 90 w 600"/>
                <a:gd name="T7" fmla="*/ 372 h 414"/>
                <a:gd name="T8" fmla="*/ 102 w 600"/>
                <a:gd name="T9" fmla="*/ 354 h 414"/>
                <a:gd name="T10" fmla="*/ 132 w 600"/>
                <a:gd name="T11" fmla="*/ 342 h 414"/>
                <a:gd name="T12" fmla="*/ 144 w 600"/>
                <a:gd name="T13" fmla="*/ 324 h 414"/>
                <a:gd name="T14" fmla="*/ 156 w 600"/>
                <a:gd name="T15" fmla="*/ 306 h 414"/>
                <a:gd name="T16" fmla="*/ 174 w 600"/>
                <a:gd name="T17" fmla="*/ 282 h 414"/>
                <a:gd name="T18" fmla="*/ 162 w 600"/>
                <a:gd name="T19" fmla="*/ 264 h 414"/>
                <a:gd name="T20" fmla="*/ 162 w 600"/>
                <a:gd name="T21" fmla="*/ 234 h 414"/>
                <a:gd name="T22" fmla="*/ 168 w 600"/>
                <a:gd name="T23" fmla="*/ 216 h 414"/>
                <a:gd name="T24" fmla="*/ 186 w 600"/>
                <a:gd name="T25" fmla="*/ 192 h 414"/>
                <a:gd name="T26" fmla="*/ 192 w 600"/>
                <a:gd name="T27" fmla="*/ 168 h 414"/>
                <a:gd name="T28" fmla="*/ 216 w 600"/>
                <a:gd name="T29" fmla="*/ 150 h 414"/>
                <a:gd name="T30" fmla="*/ 234 w 600"/>
                <a:gd name="T31" fmla="*/ 132 h 414"/>
                <a:gd name="T32" fmla="*/ 258 w 600"/>
                <a:gd name="T33" fmla="*/ 120 h 414"/>
                <a:gd name="T34" fmla="*/ 282 w 600"/>
                <a:gd name="T35" fmla="*/ 108 h 414"/>
                <a:gd name="T36" fmla="*/ 306 w 600"/>
                <a:gd name="T37" fmla="*/ 102 h 414"/>
                <a:gd name="T38" fmla="*/ 324 w 600"/>
                <a:gd name="T39" fmla="*/ 84 h 414"/>
                <a:gd name="T40" fmla="*/ 336 w 600"/>
                <a:gd name="T41" fmla="*/ 60 h 414"/>
                <a:gd name="T42" fmla="*/ 348 w 600"/>
                <a:gd name="T43" fmla="*/ 30 h 414"/>
                <a:gd name="T44" fmla="*/ 360 w 600"/>
                <a:gd name="T45" fmla="*/ 6 h 414"/>
                <a:gd name="T46" fmla="*/ 384 w 600"/>
                <a:gd name="T47" fmla="*/ 0 h 414"/>
                <a:gd name="T48" fmla="*/ 396 w 600"/>
                <a:gd name="T49" fmla="*/ 18 h 414"/>
                <a:gd name="T50" fmla="*/ 414 w 600"/>
                <a:gd name="T51" fmla="*/ 36 h 414"/>
                <a:gd name="T52" fmla="*/ 438 w 600"/>
                <a:gd name="T53" fmla="*/ 36 h 414"/>
                <a:gd name="T54" fmla="*/ 468 w 600"/>
                <a:gd name="T55" fmla="*/ 36 h 414"/>
                <a:gd name="T56" fmla="*/ 492 w 600"/>
                <a:gd name="T57" fmla="*/ 36 h 414"/>
                <a:gd name="T58" fmla="*/ 510 w 600"/>
                <a:gd name="T59" fmla="*/ 36 h 414"/>
                <a:gd name="T60" fmla="*/ 504 w 600"/>
                <a:gd name="T61" fmla="*/ 36 h 414"/>
                <a:gd name="T62" fmla="*/ 510 w 600"/>
                <a:gd name="T63" fmla="*/ 36 h 414"/>
                <a:gd name="T64" fmla="*/ 534 w 600"/>
                <a:gd name="T65" fmla="*/ 42 h 414"/>
                <a:gd name="T66" fmla="*/ 552 w 600"/>
                <a:gd name="T67" fmla="*/ 54 h 414"/>
                <a:gd name="T68" fmla="*/ 564 w 600"/>
                <a:gd name="T69" fmla="*/ 72 h 414"/>
                <a:gd name="T70" fmla="*/ 570 w 600"/>
                <a:gd name="T71" fmla="*/ 102 h 414"/>
                <a:gd name="T72" fmla="*/ 570 w 600"/>
                <a:gd name="T73" fmla="*/ 120 h 414"/>
                <a:gd name="T74" fmla="*/ 576 w 600"/>
                <a:gd name="T75" fmla="*/ 144 h 414"/>
                <a:gd name="T76" fmla="*/ 600 w 600"/>
                <a:gd name="T77" fmla="*/ 174 h 414"/>
                <a:gd name="T78" fmla="*/ 594 w 600"/>
                <a:gd name="T79" fmla="*/ 192 h 414"/>
                <a:gd name="T80" fmla="*/ 576 w 600"/>
                <a:gd name="T81" fmla="*/ 186 h 414"/>
                <a:gd name="T82" fmla="*/ 546 w 600"/>
                <a:gd name="T83" fmla="*/ 186 h 414"/>
                <a:gd name="T84" fmla="*/ 510 w 600"/>
                <a:gd name="T85" fmla="*/ 192 h 414"/>
                <a:gd name="T86" fmla="*/ 510 w 600"/>
                <a:gd name="T87" fmla="*/ 210 h 414"/>
                <a:gd name="T88" fmla="*/ 474 w 600"/>
                <a:gd name="T89" fmla="*/ 216 h 414"/>
                <a:gd name="T90" fmla="*/ 462 w 600"/>
                <a:gd name="T91" fmla="*/ 234 h 414"/>
                <a:gd name="T92" fmla="*/ 474 w 600"/>
                <a:gd name="T93" fmla="*/ 252 h 414"/>
                <a:gd name="T94" fmla="*/ 444 w 600"/>
                <a:gd name="T95" fmla="*/ 258 h 414"/>
                <a:gd name="T96" fmla="*/ 420 w 600"/>
                <a:gd name="T97" fmla="*/ 264 h 414"/>
                <a:gd name="T98" fmla="*/ 408 w 600"/>
                <a:gd name="T99" fmla="*/ 282 h 414"/>
                <a:gd name="T100" fmla="*/ 390 w 600"/>
                <a:gd name="T101" fmla="*/ 294 h 414"/>
                <a:gd name="T102" fmla="*/ 366 w 600"/>
                <a:gd name="T103" fmla="*/ 306 h 414"/>
                <a:gd name="T104" fmla="*/ 336 w 600"/>
                <a:gd name="T105" fmla="*/ 312 h 414"/>
                <a:gd name="T106" fmla="*/ 312 w 600"/>
                <a:gd name="T107" fmla="*/ 312 h 414"/>
                <a:gd name="T108" fmla="*/ 288 w 600"/>
                <a:gd name="T109" fmla="*/ 318 h 414"/>
                <a:gd name="T110" fmla="*/ 270 w 600"/>
                <a:gd name="T111" fmla="*/ 330 h 414"/>
                <a:gd name="T112" fmla="*/ 246 w 600"/>
                <a:gd name="T113" fmla="*/ 342 h 414"/>
                <a:gd name="T114" fmla="*/ 222 w 600"/>
                <a:gd name="T115" fmla="*/ 360 h 414"/>
                <a:gd name="T116" fmla="*/ 0 w 600"/>
                <a:gd name="T117" fmla="*/ 408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0"/>
                <a:gd name="T178" fmla="*/ 0 h 414"/>
                <a:gd name="T179" fmla="*/ 600 w 600"/>
                <a:gd name="T180" fmla="*/ 414 h 4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5" name="Freeform 7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1336" y="1213"/>
              <a:ext cx="520" cy="531"/>
            </a:xfrm>
            <a:custGeom>
              <a:avLst/>
              <a:gdLst>
                <a:gd name="T0" fmla="*/ 558 w 612"/>
                <a:gd name="T1" fmla="*/ 78 h 624"/>
                <a:gd name="T2" fmla="*/ 522 w 612"/>
                <a:gd name="T3" fmla="*/ 114 h 624"/>
                <a:gd name="T4" fmla="*/ 534 w 612"/>
                <a:gd name="T5" fmla="*/ 192 h 624"/>
                <a:gd name="T6" fmla="*/ 540 w 612"/>
                <a:gd name="T7" fmla="*/ 228 h 624"/>
                <a:gd name="T8" fmla="*/ 552 w 612"/>
                <a:gd name="T9" fmla="*/ 354 h 624"/>
                <a:gd name="T10" fmla="*/ 558 w 612"/>
                <a:gd name="T11" fmla="*/ 396 h 624"/>
                <a:gd name="T12" fmla="*/ 570 w 612"/>
                <a:gd name="T13" fmla="*/ 510 h 624"/>
                <a:gd name="T14" fmla="*/ 570 w 612"/>
                <a:gd name="T15" fmla="*/ 582 h 624"/>
                <a:gd name="T16" fmla="*/ 492 w 612"/>
                <a:gd name="T17" fmla="*/ 582 h 624"/>
                <a:gd name="T18" fmla="*/ 432 w 612"/>
                <a:gd name="T19" fmla="*/ 582 h 624"/>
                <a:gd name="T20" fmla="*/ 384 w 612"/>
                <a:gd name="T21" fmla="*/ 576 h 624"/>
                <a:gd name="T22" fmla="*/ 360 w 612"/>
                <a:gd name="T23" fmla="*/ 588 h 624"/>
                <a:gd name="T24" fmla="*/ 336 w 612"/>
                <a:gd name="T25" fmla="*/ 588 h 624"/>
                <a:gd name="T26" fmla="*/ 318 w 612"/>
                <a:gd name="T27" fmla="*/ 594 h 624"/>
                <a:gd name="T28" fmla="*/ 306 w 612"/>
                <a:gd name="T29" fmla="*/ 606 h 624"/>
                <a:gd name="T30" fmla="*/ 294 w 612"/>
                <a:gd name="T31" fmla="*/ 588 h 624"/>
                <a:gd name="T32" fmla="*/ 276 w 612"/>
                <a:gd name="T33" fmla="*/ 576 h 624"/>
                <a:gd name="T34" fmla="*/ 264 w 612"/>
                <a:gd name="T35" fmla="*/ 588 h 624"/>
                <a:gd name="T36" fmla="*/ 264 w 612"/>
                <a:gd name="T37" fmla="*/ 612 h 624"/>
                <a:gd name="T38" fmla="*/ 246 w 612"/>
                <a:gd name="T39" fmla="*/ 618 h 624"/>
                <a:gd name="T40" fmla="*/ 228 w 612"/>
                <a:gd name="T41" fmla="*/ 612 h 624"/>
                <a:gd name="T42" fmla="*/ 210 w 612"/>
                <a:gd name="T43" fmla="*/ 600 h 624"/>
                <a:gd name="T44" fmla="*/ 204 w 612"/>
                <a:gd name="T45" fmla="*/ 588 h 624"/>
                <a:gd name="T46" fmla="*/ 192 w 612"/>
                <a:gd name="T47" fmla="*/ 576 h 624"/>
                <a:gd name="T48" fmla="*/ 180 w 612"/>
                <a:gd name="T49" fmla="*/ 552 h 624"/>
                <a:gd name="T50" fmla="*/ 162 w 612"/>
                <a:gd name="T51" fmla="*/ 546 h 624"/>
                <a:gd name="T52" fmla="*/ 150 w 612"/>
                <a:gd name="T53" fmla="*/ 534 h 624"/>
                <a:gd name="T54" fmla="*/ 132 w 612"/>
                <a:gd name="T55" fmla="*/ 528 h 624"/>
                <a:gd name="T56" fmla="*/ 108 w 612"/>
                <a:gd name="T57" fmla="*/ 528 h 624"/>
                <a:gd name="T58" fmla="*/ 102 w 612"/>
                <a:gd name="T59" fmla="*/ 522 h 624"/>
                <a:gd name="T60" fmla="*/ 96 w 612"/>
                <a:gd name="T61" fmla="*/ 528 h 624"/>
                <a:gd name="T62" fmla="*/ 84 w 612"/>
                <a:gd name="T63" fmla="*/ 528 h 624"/>
                <a:gd name="T64" fmla="*/ 66 w 612"/>
                <a:gd name="T65" fmla="*/ 534 h 624"/>
                <a:gd name="T66" fmla="*/ 48 w 612"/>
                <a:gd name="T67" fmla="*/ 528 h 624"/>
                <a:gd name="T68" fmla="*/ 36 w 612"/>
                <a:gd name="T69" fmla="*/ 540 h 624"/>
                <a:gd name="T70" fmla="*/ 30 w 612"/>
                <a:gd name="T71" fmla="*/ 552 h 624"/>
                <a:gd name="T72" fmla="*/ 30 w 612"/>
                <a:gd name="T73" fmla="*/ 540 h 624"/>
                <a:gd name="T74" fmla="*/ 36 w 612"/>
                <a:gd name="T75" fmla="*/ 516 h 624"/>
                <a:gd name="T76" fmla="*/ 54 w 612"/>
                <a:gd name="T77" fmla="*/ 474 h 624"/>
                <a:gd name="T78" fmla="*/ 54 w 612"/>
                <a:gd name="T79" fmla="*/ 450 h 624"/>
                <a:gd name="T80" fmla="*/ 48 w 612"/>
                <a:gd name="T81" fmla="*/ 426 h 624"/>
                <a:gd name="T82" fmla="*/ 36 w 612"/>
                <a:gd name="T83" fmla="*/ 402 h 624"/>
                <a:gd name="T84" fmla="*/ 36 w 612"/>
                <a:gd name="T85" fmla="*/ 390 h 624"/>
                <a:gd name="T86" fmla="*/ 36 w 612"/>
                <a:gd name="T87" fmla="*/ 390 h 624"/>
                <a:gd name="T88" fmla="*/ 36 w 612"/>
                <a:gd name="T89" fmla="*/ 378 h 624"/>
                <a:gd name="T90" fmla="*/ 42 w 612"/>
                <a:gd name="T91" fmla="*/ 360 h 624"/>
                <a:gd name="T92" fmla="*/ 42 w 612"/>
                <a:gd name="T93" fmla="*/ 342 h 624"/>
                <a:gd name="T94" fmla="*/ 30 w 612"/>
                <a:gd name="T95" fmla="*/ 330 h 624"/>
                <a:gd name="T96" fmla="*/ 24 w 612"/>
                <a:gd name="T97" fmla="*/ 324 h 624"/>
                <a:gd name="T98" fmla="*/ 12 w 612"/>
                <a:gd name="T99" fmla="*/ 312 h 624"/>
                <a:gd name="T100" fmla="*/ 12 w 612"/>
                <a:gd name="T101" fmla="*/ 306 h 624"/>
                <a:gd name="T102" fmla="*/ 12 w 612"/>
                <a:gd name="T103" fmla="*/ 306 h 624"/>
                <a:gd name="T104" fmla="*/ 12 w 612"/>
                <a:gd name="T105" fmla="*/ 294 h 624"/>
                <a:gd name="T106" fmla="*/ 6 w 612"/>
                <a:gd name="T107" fmla="*/ 312 h 624"/>
                <a:gd name="T108" fmla="*/ 0 w 612"/>
                <a:gd name="T109" fmla="*/ 324 h 624"/>
                <a:gd name="T110" fmla="*/ 6 w 612"/>
                <a:gd name="T111" fmla="*/ 306 h 624"/>
                <a:gd name="T112" fmla="*/ 108 w 612"/>
                <a:gd name="T113" fmla="*/ 294 h 624"/>
                <a:gd name="T114" fmla="*/ 198 w 612"/>
                <a:gd name="T115" fmla="*/ 264 h 624"/>
                <a:gd name="T116" fmla="*/ 204 w 612"/>
                <a:gd name="T117" fmla="*/ 204 h 624"/>
                <a:gd name="T118" fmla="*/ 216 w 612"/>
                <a:gd name="T119" fmla="*/ 192 h 624"/>
                <a:gd name="T120" fmla="*/ 252 w 612"/>
                <a:gd name="T121" fmla="*/ 60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12"/>
                <a:gd name="T184" fmla="*/ 0 h 624"/>
                <a:gd name="T185" fmla="*/ 612 w 612"/>
                <a:gd name="T186" fmla="*/ 624 h 6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8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36" y="1193"/>
              <a:ext cx="357" cy="296"/>
            </a:xfrm>
            <a:custGeom>
              <a:avLst/>
              <a:gdLst>
                <a:gd name="T0" fmla="*/ 264 w 420"/>
                <a:gd name="T1" fmla="*/ 0 h 348"/>
                <a:gd name="T2" fmla="*/ 348 w 420"/>
                <a:gd name="T3" fmla="*/ 0 h 348"/>
                <a:gd name="T4" fmla="*/ 420 w 420"/>
                <a:gd name="T5" fmla="*/ 24 h 348"/>
                <a:gd name="T6" fmla="*/ 420 w 420"/>
                <a:gd name="T7" fmla="*/ 84 h 348"/>
                <a:gd name="T8" fmla="*/ 252 w 420"/>
                <a:gd name="T9" fmla="*/ 144 h 348"/>
                <a:gd name="T10" fmla="*/ 246 w 420"/>
                <a:gd name="T11" fmla="*/ 210 h 348"/>
                <a:gd name="T12" fmla="*/ 210 w 420"/>
                <a:gd name="T13" fmla="*/ 216 h 348"/>
                <a:gd name="T14" fmla="*/ 204 w 420"/>
                <a:gd name="T15" fmla="*/ 222 h 348"/>
                <a:gd name="T16" fmla="*/ 204 w 420"/>
                <a:gd name="T17" fmla="*/ 234 h 348"/>
                <a:gd name="T18" fmla="*/ 198 w 420"/>
                <a:gd name="T19" fmla="*/ 246 h 348"/>
                <a:gd name="T20" fmla="*/ 204 w 420"/>
                <a:gd name="T21" fmla="*/ 300 h 348"/>
                <a:gd name="T22" fmla="*/ 162 w 420"/>
                <a:gd name="T23" fmla="*/ 318 h 348"/>
                <a:gd name="T24" fmla="*/ 60 w 420"/>
                <a:gd name="T25" fmla="*/ 318 h 348"/>
                <a:gd name="T26" fmla="*/ 6 w 420"/>
                <a:gd name="T27" fmla="*/ 318 h 348"/>
                <a:gd name="T28" fmla="*/ 6 w 420"/>
                <a:gd name="T29" fmla="*/ 336 h 348"/>
                <a:gd name="T30" fmla="*/ 0 w 420"/>
                <a:gd name="T31" fmla="*/ 342 h 348"/>
                <a:gd name="T32" fmla="*/ 0 w 420"/>
                <a:gd name="T33" fmla="*/ 342 h 348"/>
                <a:gd name="T34" fmla="*/ 0 w 420"/>
                <a:gd name="T35" fmla="*/ 330 h 348"/>
                <a:gd name="T36" fmla="*/ 6 w 420"/>
                <a:gd name="T37" fmla="*/ 318 h 348"/>
                <a:gd name="T38" fmla="*/ 6 w 420"/>
                <a:gd name="T39" fmla="*/ 306 h 348"/>
                <a:gd name="T40" fmla="*/ 6 w 420"/>
                <a:gd name="T41" fmla="*/ 294 h 348"/>
                <a:gd name="T42" fmla="*/ 12 w 420"/>
                <a:gd name="T43" fmla="*/ 282 h 348"/>
                <a:gd name="T44" fmla="*/ 18 w 420"/>
                <a:gd name="T45" fmla="*/ 276 h 348"/>
                <a:gd name="T46" fmla="*/ 24 w 420"/>
                <a:gd name="T47" fmla="*/ 270 h 348"/>
                <a:gd name="T48" fmla="*/ 30 w 420"/>
                <a:gd name="T49" fmla="*/ 264 h 348"/>
                <a:gd name="T50" fmla="*/ 36 w 420"/>
                <a:gd name="T51" fmla="*/ 252 h 348"/>
                <a:gd name="T52" fmla="*/ 42 w 420"/>
                <a:gd name="T53" fmla="*/ 246 h 348"/>
                <a:gd name="T54" fmla="*/ 48 w 420"/>
                <a:gd name="T55" fmla="*/ 240 h 348"/>
                <a:gd name="T56" fmla="*/ 48 w 420"/>
                <a:gd name="T57" fmla="*/ 228 h 348"/>
                <a:gd name="T58" fmla="*/ 48 w 420"/>
                <a:gd name="T59" fmla="*/ 228 h 348"/>
                <a:gd name="T60" fmla="*/ 54 w 420"/>
                <a:gd name="T61" fmla="*/ 222 h 348"/>
                <a:gd name="T62" fmla="*/ 60 w 420"/>
                <a:gd name="T63" fmla="*/ 210 h 348"/>
                <a:gd name="T64" fmla="*/ 60 w 420"/>
                <a:gd name="T65" fmla="*/ 210 h 348"/>
                <a:gd name="T66" fmla="*/ 66 w 420"/>
                <a:gd name="T67" fmla="*/ 198 h 348"/>
                <a:gd name="T68" fmla="*/ 72 w 420"/>
                <a:gd name="T69" fmla="*/ 192 h 348"/>
                <a:gd name="T70" fmla="*/ 72 w 420"/>
                <a:gd name="T71" fmla="*/ 192 h 348"/>
                <a:gd name="T72" fmla="*/ 60 w 420"/>
                <a:gd name="T73" fmla="*/ 192 h 348"/>
                <a:gd name="T74" fmla="*/ 60 w 420"/>
                <a:gd name="T75" fmla="*/ 204 h 348"/>
                <a:gd name="T76" fmla="*/ 54 w 420"/>
                <a:gd name="T77" fmla="*/ 198 h 348"/>
                <a:gd name="T78" fmla="*/ 60 w 420"/>
                <a:gd name="T79" fmla="*/ 192 h 348"/>
                <a:gd name="T80" fmla="*/ 72 w 420"/>
                <a:gd name="T81" fmla="*/ 186 h 348"/>
                <a:gd name="T82" fmla="*/ 78 w 420"/>
                <a:gd name="T83" fmla="*/ 180 h 348"/>
                <a:gd name="T84" fmla="*/ 84 w 420"/>
                <a:gd name="T85" fmla="*/ 174 h 348"/>
                <a:gd name="T86" fmla="*/ 90 w 420"/>
                <a:gd name="T87" fmla="*/ 162 h 348"/>
                <a:gd name="T88" fmla="*/ 102 w 420"/>
                <a:gd name="T89" fmla="*/ 156 h 348"/>
                <a:gd name="T90" fmla="*/ 108 w 420"/>
                <a:gd name="T91" fmla="*/ 150 h 348"/>
                <a:gd name="T92" fmla="*/ 114 w 420"/>
                <a:gd name="T93" fmla="*/ 138 h 348"/>
                <a:gd name="T94" fmla="*/ 114 w 420"/>
                <a:gd name="T95" fmla="*/ 126 h 348"/>
                <a:gd name="T96" fmla="*/ 114 w 420"/>
                <a:gd name="T97" fmla="*/ 114 h 348"/>
                <a:gd name="T98" fmla="*/ 120 w 420"/>
                <a:gd name="T99" fmla="*/ 102 h 348"/>
                <a:gd name="T100" fmla="*/ 126 w 420"/>
                <a:gd name="T101" fmla="*/ 96 h 348"/>
                <a:gd name="T102" fmla="*/ 132 w 420"/>
                <a:gd name="T103" fmla="*/ 84 h 348"/>
                <a:gd name="T104" fmla="*/ 132 w 420"/>
                <a:gd name="T105" fmla="*/ 72 h 348"/>
                <a:gd name="T106" fmla="*/ 144 w 420"/>
                <a:gd name="T107" fmla="*/ 66 h 348"/>
                <a:gd name="T108" fmla="*/ 156 w 420"/>
                <a:gd name="T109" fmla="*/ 60 h 348"/>
                <a:gd name="T110" fmla="*/ 174 w 420"/>
                <a:gd name="T111" fmla="*/ 54 h 348"/>
                <a:gd name="T112" fmla="*/ 180 w 420"/>
                <a:gd name="T113" fmla="*/ 48 h 348"/>
                <a:gd name="T114" fmla="*/ 180 w 420"/>
                <a:gd name="T115" fmla="*/ 30 h 348"/>
                <a:gd name="T116" fmla="*/ 186 w 420"/>
                <a:gd name="T117" fmla="*/ 24 h 348"/>
                <a:gd name="T118" fmla="*/ 192 w 420"/>
                <a:gd name="T119" fmla="*/ 18 h 348"/>
                <a:gd name="T120" fmla="*/ 192 w 420"/>
                <a:gd name="T121" fmla="*/ 18 h 348"/>
                <a:gd name="T122" fmla="*/ 192 w 420"/>
                <a:gd name="T123" fmla="*/ 6 h 348"/>
                <a:gd name="T124" fmla="*/ 198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348"/>
                <a:gd name="T191" fmla="*/ 420 w 420"/>
                <a:gd name="T192" fmla="*/ 348 h 3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7" name="Freeform 9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93" y="795"/>
              <a:ext cx="872" cy="770"/>
            </a:xfrm>
            <a:custGeom>
              <a:avLst/>
              <a:gdLst>
                <a:gd name="T0" fmla="*/ 18 w 1026"/>
                <a:gd name="T1" fmla="*/ 408 h 906"/>
                <a:gd name="T2" fmla="*/ 48 w 1026"/>
                <a:gd name="T3" fmla="*/ 384 h 906"/>
                <a:gd name="T4" fmla="*/ 78 w 1026"/>
                <a:gd name="T5" fmla="*/ 372 h 906"/>
                <a:gd name="T6" fmla="*/ 114 w 1026"/>
                <a:gd name="T7" fmla="*/ 372 h 906"/>
                <a:gd name="T8" fmla="*/ 156 w 1026"/>
                <a:gd name="T9" fmla="*/ 360 h 906"/>
                <a:gd name="T10" fmla="*/ 180 w 1026"/>
                <a:gd name="T11" fmla="*/ 342 h 906"/>
                <a:gd name="T12" fmla="*/ 198 w 1026"/>
                <a:gd name="T13" fmla="*/ 318 h 906"/>
                <a:gd name="T14" fmla="*/ 240 w 1026"/>
                <a:gd name="T15" fmla="*/ 312 h 906"/>
                <a:gd name="T16" fmla="*/ 240 w 1026"/>
                <a:gd name="T17" fmla="*/ 294 h 906"/>
                <a:gd name="T18" fmla="*/ 270 w 1026"/>
                <a:gd name="T19" fmla="*/ 270 h 906"/>
                <a:gd name="T20" fmla="*/ 282 w 1026"/>
                <a:gd name="T21" fmla="*/ 252 h 906"/>
                <a:gd name="T22" fmla="*/ 330 w 1026"/>
                <a:gd name="T23" fmla="*/ 246 h 906"/>
                <a:gd name="T24" fmla="*/ 360 w 1026"/>
                <a:gd name="T25" fmla="*/ 252 h 906"/>
                <a:gd name="T26" fmla="*/ 378 w 1026"/>
                <a:gd name="T27" fmla="*/ 234 h 906"/>
                <a:gd name="T28" fmla="*/ 348 w 1026"/>
                <a:gd name="T29" fmla="*/ 198 h 906"/>
                <a:gd name="T30" fmla="*/ 348 w 1026"/>
                <a:gd name="T31" fmla="*/ 168 h 906"/>
                <a:gd name="T32" fmla="*/ 342 w 1026"/>
                <a:gd name="T33" fmla="*/ 126 h 906"/>
                <a:gd name="T34" fmla="*/ 324 w 1026"/>
                <a:gd name="T35" fmla="*/ 102 h 906"/>
                <a:gd name="T36" fmla="*/ 354 w 1026"/>
                <a:gd name="T37" fmla="*/ 96 h 906"/>
                <a:gd name="T38" fmla="*/ 378 w 1026"/>
                <a:gd name="T39" fmla="*/ 72 h 906"/>
                <a:gd name="T40" fmla="*/ 402 w 1026"/>
                <a:gd name="T41" fmla="*/ 66 h 906"/>
                <a:gd name="T42" fmla="*/ 432 w 1026"/>
                <a:gd name="T43" fmla="*/ 66 h 906"/>
                <a:gd name="T44" fmla="*/ 456 w 1026"/>
                <a:gd name="T45" fmla="*/ 42 h 906"/>
                <a:gd name="T46" fmla="*/ 492 w 1026"/>
                <a:gd name="T47" fmla="*/ 30 h 906"/>
                <a:gd name="T48" fmla="*/ 534 w 1026"/>
                <a:gd name="T49" fmla="*/ 30 h 906"/>
                <a:gd name="T50" fmla="*/ 564 w 1026"/>
                <a:gd name="T51" fmla="*/ 24 h 906"/>
                <a:gd name="T52" fmla="*/ 600 w 1026"/>
                <a:gd name="T53" fmla="*/ 18 h 906"/>
                <a:gd name="T54" fmla="*/ 636 w 1026"/>
                <a:gd name="T55" fmla="*/ 12 h 906"/>
                <a:gd name="T56" fmla="*/ 678 w 1026"/>
                <a:gd name="T57" fmla="*/ 18 h 906"/>
                <a:gd name="T58" fmla="*/ 708 w 1026"/>
                <a:gd name="T59" fmla="*/ 18 h 906"/>
                <a:gd name="T60" fmla="*/ 744 w 1026"/>
                <a:gd name="T61" fmla="*/ 6 h 906"/>
                <a:gd name="T62" fmla="*/ 762 w 1026"/>
                <a:gd name="T63" fmla="*/ 6 h 906"/>
                <a:gd name="T64" fmla="*/ 786 w 1026"/>
                <a:gd name="T65" fmla="*/ 12 h 906"/>
                <a:gd name="T66" fmla="*/ 798 w 1026"/>
                <a:gd name="T67" fmla="*/ 6 h 906"/>
                <a:gd name="T68" fmla="*/ 822 w 1026"/>
                <a:gd name="T69" fmla="*/ 12 h 906"/>
                <a:gd name="T70" fmla="*/ 852 w 1026"/>
                <a:gd name="T71" fmla="*/ 18 h 906"/>
                <a:gd name="T72" fmla="*/ 834 w 1026"/>
                <a:gd name="T73" fmla="*/ 30 h 906"/>
                <a:gd name="T74" fmla="*/ 846 w 1026"/>
                <a:gd name="T75" fmla="*/ 48 h 906"/>
                <a:gd name="T76" fmla="*/ 846 w 1026"/>
                <a:gd name="T77" fmla="*/ 78 h 906"/>
                <a:gd name="T78" fmla="*/ 846 w 1026"/>
                <a:gd name="T79" fmla="*/ 102 h 906"/>
                <a:gd name="T80" fmla="*/ 834 w 1026"/>
                <a:gd name="T81" fmla="*/ 132 h 906"/>
                <a:gd name="T82" fmla="*/ 804 w 1026"/>
                <a:gd name="T83" fmla="*/ 156 h 906"/>
                <a:gd name="T84" fmla="*/ 816 w 1026"/>
                <a:gd name="T85" fmla="*/ 198 h 906"/>
                <a:gd name="T86" fmla="*/ 882 w 1026"/>
                <a:gd name="T87" fmla="*/ 252 h 906"/>
                <a:gd name="T88" fmla="*/ 900 w 1026"/>
                <a:gd name="T89" fmla="*/ 342 h 906"/>
                <a:gd name="T90" fmla="*/ 918 w 1026"/>
                <a:gd name="T91" fmla="*/ 408 h 906"/>
                <a:gd name="T92" fmla="*/ 918 w 1026"/>
                <a:gd name="T93" fmla="*/ 450 h 906"/>
                <a:gd name="T94" fmla="*/ 918 w 1026"/>
                <a:gd name="T95" fmla="*/ 492 h 906"/>
                <a:gd name="T96" fmla="*/ 918 w 1026"/>
                <a:gd name="T97" fmla="*/ 528 h 906"/>
                <a:gd name="T98" fmla="*/ 918 w 1026"/>
                <a:gd name="T99" fmla="*/ 570 h 906"/>
                <a:gd name="T100" fmla="*/ 954 w 1026"/>
                <a:gd name="T101" fmla="*/ 624 h 906"/>
                <a:gd name="T102" fmla="*/ 1008 w 1026"/>
                <a:gd name="T103" fmla="*/ 642 h 906"/>
                <a:gd name="T104" fmla="*/ 786 w 1026"/>
                <a:gd name="T105" fmla="*/ 822 h 906"/>
                <a:gd name="T106" fmla="*/ 594 w 1026"/>
                <a:gd name="T107" fmla="*/ 900 h 906"/>
                <a:gd name="T108" fmla="*/ 588 w 1026"/>
                <a:gd name="T109" fmla="*/ 876 h 906"/>
                <a:gd name="T110" fmla="*/ 576 w 1026"/>
                <a:gd name="T111" fmla="*/ 852 h 906"/>
                <a:gd name="T112" fmla="*/ 546 w 1026"/>
                <a:gd name="T113" fmla="*/ 846 h 906"/>
                <a:gd name="T114" fmla="*/ 522 w 1026"/>
                <a:gd name="T115" fmla="*/ 840 h 906"/>
                <a:gd name="T116" fmla="*/ 498 w 1026"/>
                <a:gd name="T117" fmla="*/ 816 h 906"/>
                <a:gd name="T118" fmla="*/ 420 w 1026"/>
                <a:gd name="T119" fmla="*/ 750 h 906"/>
                <a:gd name="T120" fmla="*/ 162 w 1026"/>
                <a:gd name="T121" fmla="*/ 588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6"/>
                <a:gd name="T184" fmla="*/ 0 h 906"/>
                <a:gd name="T185" fmla="*/ 1026 w 1026"/>
                <a:gd name="T186" fmla="*/ 906 h 90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1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065" y="1372"/>
              <a:ext cx="668" cy="499"/>
            </a:xfrm>
            <a:custGeom>
              <a:avLst/>
              <a:gdLst>
                <a:gd name="T0" fmla="*/ 18 w 786"/>
                <a:gd name="T1" fmla="*/ 426 h 588"/>
                <a:gd name="T2" fmla="*/ 54 w 786"/>
                <a:gd name="T3" fmla="*/ 408 h 588"/>
                <a:gd name="T4" fmla="*/ 144 w 786"/>
                <a:gd name="T5" fmla="*/ 408 h 588"/>
                <a:gd name="T6" fmla="*/ 174 w 786"/>
                <a:gd name="T7" fmla="*/ 396 h 588"/>
                <a:gd name="T8" fmla="*/ 186 w 786"/>
                <a:gd name="T9" fmla="*/ 384 h 588"/>
                <a:gd name="T10" fmla="*/ 192 w 786"/>
                <a:gd name="T11" fmla="*/ 342 h 588"/>
                <a:gd name="T12" fmla="*/ 234 w 786"/>
                <a:gd name="T13" fmla="*/ 210 h 588"/>
                <a:gd name="T14" fmla="*/ 348 w 786"/>
                <a:gd name="T15" fmla="*/ 144 h 588"/>
                <a:gd name="T16" fmla="*/ 546 w 786"/>
                <a:gd name="T17" fmla="*/ 24 h 588"/>
                <a:gd name="T18" fmla="*/ 624 w 786"/>
                <a:gd name="T19" fmla="*/ 6 h 588"/>
                <a:gd name="T20" fmla="*/ 660 w 786"/>
                <a:gd name="T21" fmla="*/ 12 h 588"/>
                <a:gd name="T22" fmla="*/ 696 w 786"/>
                <a:gd name="T23" fmla="*/ 42 h 588"/>
                <a:gd name="T24" fmla="*/ 744 w 786"/>
                <a:gd name="T25" fmla="*/ 96 h 588"/>
                <a:gd name="T26" fmla="*/ 762 w 786"/>
                <a:gd name="T27" fmla="*/ 126 h 588"/>
                <a:gd name="T28" fmla="*/ 774 w 786"/>
                <a:gd name="T29" fmla="*/ 144 h 588"/>
                <a:gd name="T30" fmla="*/ 774 w 786"/>
                <a:gd name="T31" fmla="*/ 186 h 588"/>
                <a:gd name="T32" fmla="*/ 768 w 786"/>
                <a:gd name="T33" fmla="*/ 216 h 588"/>
                <a:gd name="T34" fmla="*/ 732 w 786"/>
                <a:gd name="T35" fmla="*/ 354 h 588"/>
                <a:gd name="T36" fmla="*/ 702 w 786"/>
                <a:gd name="T37" fmla="*/ 390 h 588"/>
                <a:gd name="T38" fmla="*/ 678 w 786"/>
                <a:gd name="T39" fmla="*/ 426 h 588"/>
                <a:gd name="T40" fmla="*/ 672 w 786"/>
                <a:gd name="T41" fmla="*/ 444 h 588"/>
                <a:gd name="T42" fmla="*/ 666 w 786"/>
                <a:gd name="T43" fmla="*/ 486 h 588"/>
                <a:gd name="T44" fmla="*/ 648 w 786"/>
                <a:gd name="T45" fmla="*/ 492 h 588"/>
                <a:gd name="T46" fmla="*/ 642 w 786"/>
                <a:gd name="T47" fmla="*/ 498 h 588"/>
                <a:gd name="T48" fmla="*/ 642 w 786"/>
                <a:gd name="T49" fmla="*/ 498 h 588"/>
                <a:gd name="T50" fmla="*/ 630 w 786"/>
                <a:gd name="T51" fmla="*/ 498 h 588"/>
                <a:gd name="T52" fmla="*/ 618 w 786"/>
                <a:gd name="T53" fmla="*/ 510 h 588"/>
                <a:gd name="T54" fmla="*/ 618 w 786"/>
                <a:gd name="T55" fmla="*/ 510 h 588"/>
                <a:gd name="T56" fmla="*/ 600 w 786"/>
                <a:gd name="T57" fmla="*/ 516 h 588"/>
                <a:gd name="T58" fmla="*/ 588 w 786"/>
                <a:gd name="T59" fmla="*/ 516 h 588"/>
                <a:gd name="T60" fmla="*/ 570 w 786"/>
                <a:gd name="T61" fmla="*/ 504 h 588"/>
                <a:gd name="T62" fmla="*/ 540 w 786"/>
                <a:gd name="T63" fmla="*/ 504 h 588"/>
                <a:gd name="T64" fmla="*/ 492 w 786"/>
                <a:gd name="T65" fmla="*/ 510 h 588"/>
                <a:gd name="T66" fmla="*/ 474 w 786"/>
                <a:gd name="T67" fmla="*/ 534 h 588"/>
                <a:gd name="T68" fmla="*/ 444 w 786"/>
                <a:gd name="T69" fmla="*/ 528 h 588"/>
                <a:gd name="T70" fmla="*/ 420 w 786"/>
                <a:gd name="T71" fmla="*/ 522 h 588"/>
                <a:gd name="T72" fmla="*/ 402 w 786"/>
                <a:gd name="T73" fmla="*/ 510 h 588"/>
                <a:gd name="T74" fmla="*/ 372 w 786"/>
                <a:gd name="T75" fmla="*/ 510 h 588"/>
                <a:gd name="T76" fmla="*/ 342 w 786"/>
                <a:gd name="T77" fmla="*/ 522 h 588"/>
                <a:gd name="T78" fmla="*/ 312 w 786"/>
                <a:gd name="T79" fmla="*/ 492 h 588"/>
                <a:gd name="T80" fmla="*/ 294 w 786"/>
                <a:gd name="T81" fmla="*/ 486 h 588"/>
                <a:gd name="T82" fmla="*/ 252 w 786"/>
                <a:gd name="T83" fmla="*/ 486 h 588"/>
                <a:gd name="T84" fmla="*/ 234 w 786"/>
                <a:gd name="T85" fmla="*/ 480 h 588"/>
                <a:gd name="T86" fmla="*/ 198 w 786"/>
                <a:gd name="T87" fmla="*/ 522 h 588"/>
                <a:gd name="T88" fmla="*/ 174 w 786"/>
                <a:gd name="T89" fmla="*/ 546 h 588"/>
                <a:gd name="T90" fmla="*/ 174 w 786"/>
                <a:gd name="T91" fmla="*/ 576 h 588"/>
                <a:gd name="T92" fmla="*/ 162 w 786"/>
                <a:gd name="T93" fmla="*/ 576 h 588"/>
                <a:gd name="T94" fmla="*/ 150 w 786"/>
                <a:gd name="T95" fmla="*/ 564 h 588"/>
                <a:gd name="T96" fmla="*/ 132 w 786"/>
                <a:gd name="T97" fmla="*/ 552 h 588"/>
                <a:gd name="T98" fmla="*/ 114 w 786"/>
                <a:gd name="T99" fmla="*/ 558 h 588"/>
                <a:gd name="T100" fmla="*/ 114 w 786"/>
                <a:gd name="T101" fmla="*/ 570 h 588"/>
                <a:gd name="T102" fmla="*/ 96 w 786"/>
                <a:gd name="T103" fmla="*/ 558 h 588"/>
                <a:gd name="T104" fmla="*/ 102 w 786"/>
                <a:gd name="T105" fmla="*/ 540 h 588"/>
                <a:gd name="T106" fmla="*/ 84 w 786"/>
                <a:gd name="T107" fmla="*/ 540 h 588"/>
                <a:gd name="T108" fmla="*/ 42 w 786"/>
                <a:gd name="T109" fmla="*/ 504 h 588"/>
                <a:gd name="T110" fmla="*/ 48 w 786"/>
                <a:gd name="T111" fmla="*/ 498 h 588"/>
                <a:gd name="T112" fmla="*/ 30 w 786"/>
                <a:gd name="T113" fmla="*/ 492 h 588"/>
                <a:gd name="T114" fmla="*/ 18 w 786"/>
                <a:gd name="T115" fmla="*/ 480 h 588"/>
                <a:gd name="T116" fmla="*/ 12 w 786"/>
                <a:gd name="T117" fmla="*/ 462 h 588"/>
                <a:gd name="T118" fmla="*/ 0 w 786"/>
                <a:gd name="T119" fmla="*/ 444 h 588"/>
                <a:gd name="T120" fmla="*/ 6 w 786"/>
                <a:gd name="T121" fmla="*/ 420 h 5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588"/>
                <a:gd name="T185" fmla="*/ 786 w 786"/>
                <a:gd name="T186" fmla="*/ 588 h 5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588">
                  <a:moveTo>
                    <a:pt x="6" y="420"/>
                  </a:moveTo>
                  <a:lnTo>
                    <a:pt x="12" y="426"/>
                  </a:lnTo>
                  <a:lnTo>
                    <a:pt x="18" y="420"/>
                  </a:lnTo>
                  <a:lnTo>
                    <a:pt x="18" y="426"/>
                  </a:lnTo>
                  <a:lnTo>
                    <a:pt x="24" y="426"/>
                  </a:lnTo>
                  <a:lnTo>
                    <a:pt x="30" y="426"/>
                  </a:lnTo>
                  <a:lnTo>
                    <a:pt x="42" y="426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84" y="408"/>
                  </a:lnTo>
                  <a:lnTo>
                    <a:pt x="120" y="402"/>
                  </a:lnTo>
                  <a:lnTo>
                    <a:pt x="144" y="408"/>
                  </a:lnTo>
                  <a:lnTo>
                    <a:pt x="168" y="408"/>
                  </a:lnTo>
                  <a:lnTo>
                    <a:pt x="168" y="402"/>
                  </a:lnTo>
                  <a:lnTo>
                    <a:pt x="168" y="396"/>
                  </a:lnTo>
                  <a:lnTo>
                    <a:pt x="174" y="396"/>
                  </a:lnTo>
                  <a:lnTo>
                    <a:pt x="174" y="390"/>
                  </a:lnTo>
                  <a:lnTo>
                    <a:pt x="180" y="390"/>
                  </a:lnTo>
                  <a:lnTo>
                    <a:pt x="186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92" y="372"/>
                  </a:lnTo>
                  <a:lnTo>
                    <a:pt x="192" y="354"/>
                  </a:lnTo>
                  <a:lnTo>
                    <a:pt x="192" y="342"/>
                  </a:lnTo>
                  <a:lnTo>
                    <a:pt x="192" y="330"/>
                  </a:lnTo>
                  <a:lnTo>
                    <a:pt x="204" y="324"/>
                  </a:lnTo>
                  <a:lnTo>
                    <a:pt x="204" y="216"/>
                  </a:lnTo>
                  <a:lnTo>
                    <a:pt x="234" y="210"/>
                  </a:lnTo>
                  <a:lnTo>
                    <a:pt x="282" y="204"/>
                  </a:lnTo>
                  <a:lnTo>
                    <a:pt x="312" y="174"/>
                  </a:lnTo>
                  <a:lnTo>
                    <a:pt x="330" y="156"/>
                  </a:lnTo>
                  <a:lnTo>
                    <a:pt x="348" y="144"/>
                  </a:lnTo>
                  <a:lnTo>
                    <a:pt x="360" y="132"/>
                  </a:lnTo>
                  <a:lnTo>
                    <a:pt x="420" y="96"/>
                  </a:lnTo>
                  <a:lnTo>
                    <a:pt x="468" y="66"/>
                  </a:lnTo>
                  <a:lnTo>
                    <a:pt x="546" y="24"/>
                  </a:lnTo>
                  <a:lnTo>
                    <a:pt x="588" y="0"/>
                  </a:lnTo>
                  <a:lnTo>
                    <a:pt x="594" y="0"/>
                  </a:lnTo>
                  <a:lnTo>
                    <a:pt x="606" y="6"/>
                  </a:lnTo>
                  <a:lnTo>
                    <a:pt x="624" y="6"/>
                  </a:lnTo>
                  <a:lnTo>
                    <a:pt x="630" y="6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0" y="18"/>
                  </a:lnTo>
                  <a:lnTo>
                    <a:pt x="666" y="18"/>
                  </a:lnTo>
                  <a:lnTo>
                    <a:pt x="672" y="24"/>
                  </a:lnTo>
                  <a:lnTo>
                    <a:pt x="696" y="42"/>
                  </a:lnTo>
                  <a:lnTo>
                    <a:pt x="738" y="24"/>
                  </a:lnTo>
                  <a:lnTo>
                    <a:pt x="744" y="54"/>
                  </a:lnTo>
                  <a:lnTo>
                    <a:pt x="744" y="72"/>
                  </a:lnTo>
                  <a:lnTo>
                    <a:pt x="744" y="96"/>
                  </a:lnTo>
                  <a:lnTo>
                    <a:pt x="744" y="102"/>
                  </a:lnTo>
                  <a:lnTo>
                    <a:pt x="750" y="102"/>
                  </a:lnTo>
                  <a:lnTo>
                    <a:pt x="768" y="126"/>
                  </a:lnTo>
                  <a:lnTo>
                    <a:pt x="762" y="126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80" y="150"/>
                  </a:lnTo>
                  <a:lnTo>
                    <a:pt x="786" y="156"/>
                  </a:lnTo>
                  <a:lnTo>
                    <a:pt x="774" y="174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68" y="210"/>
                  </a:lnTo>
                  <a:lnTo>
                    <a:pt x="768" y="216"/>
                  </a:lnTo>
                  <a:lnTo>
                    <a:pt x="768" y="222"/>
                  </a:lnTo>
                  <a:lnTo>
                    <a:pt x="768" y="234"/>
                  </a:lnTo>
                  <a:lnTo>
                    <a:pt x="762" y="330"/>
                  </a:lnTo>
                  <a:lnTo>
                    <a:pt x="732" y="354"/>
                  </a:lnTo>
                  <a:lnTo>
                    <a:pt x="726" y="366"/>
                  </a:lnTo>
                  <a:lnTo>
                    <a:pt x="720" y="372"/>
                  </a:lnTo>
                  <a:lnTo>
                    <a:pt x="708" y="384"/>
                  </a:lnTo>
                  <a:lnTo>
                    <a:pt x="702" y="390"/>
                  </a:lnTo>
                  <a:lnTo>
                    <a:pt x="696" y="396"/>
                  </a:lnTo>
                  <a:lnTo>
                    <a:pt x="684" y="414"/>
                  </a:lnTo>
                  <a:lnTo>
                    <a:pt x="678" y="420"/>
                  </a:lnTo>
                  <a:lnTo>
                    <a:pt x="678" y="426"/>
                  </a:lnTo>
                  <a:lnTo>
                    <a:pt x="678" y="432"/>
                  </a:lnTo>
                  <a:lnTo>
                    <a:pt x="678" y="438"/>
                  </a:lnTo>
                  <a:lnTo>
                    <a:pt x="672" y="438"/>
                  </a:lnTo>
                  <a:lnTo>
                    <a:pt x="672" y="444"/>
                  </a:lnTo>
                  <a:lnTo>
                    <a:pt x="666" y="444"/>
                  </a:lnTo>
                  <a:lnTo>
                    <a:pt x="660" y="450"/>
                  </a:lnTo>
                  <a:lnTo>
                    <a:pt x="660" y="456"/>
                  </a:lnTo>
                  <a:lnTo>
                    <a:pt x="666" y="486"/>
                  </a:lnTo>
                  <a:lnTo>
                    <a:pt x="660" y="486"/>
                  </a:lnTo>
                  <a:lnTo>
                    <a:pt x="654" y="486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0" y="498"/>
                  </a:lnTo>
                  <a:lnTo>
                    <a:pt x="630" y="504"/>
                  </a:lnTo>
                  <a:lnTo>
                    <a:pt x="624" y="504"/>
                  </a:lnTo>
                  <a:lnTo>
                    <a:pt x="624" y="510"/>
                  </a:lnTo>
                  <a:lnTo>
                    <a:pt x="618" y="510"/>
                  </a:lnTo>
                  <a:lnTo>
                    <a:pt x="618" y="504"/>
                  </a:lnTo>
                  <a:lnTo>
                    <a:pt x="618" y="510"/>
                  </a:lnTo>
                  <a:lnTo>
                    <a:pt x="612" y="510"/>
                  </a:lnTo>
                  <a:lnTo>
                    <a:pt x="618" y="510"/>
                  </a:lnTo>
                  <a:lnTo>
                    <a:pt x="618" y="516"/>
                  </a:lnTo>
                  <a:lnTo>
                    <a:pt x="612" y="516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70" y="510"/>
                  </a:lnTo>
                  <a:lnTo>
                    <a:pt x="570" y="504"/>
                  </a:lnTo>
                  <a:lnTo>
                    <a:pt x="564" y="504"/>
                  </a:lnTo>
                  <a:lnTo>
                    <a:pt x="558" y="504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22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2" y="510"/>
                  </a:lnTo>
                  <a:lnTo>
                    <a:pt x="486" y="516"/>
                  </a:lnTo>
                  <a:lnTo>
                    <a:pt x="480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62" y="528"/>
                  </a:lnTo>
                  <a:lnTo>
                    <a:pt x="456" y="528"/>
                  </a:lnTo>
                  <a:lnTo>
                    <a:pt x="450" y="528"/>
                  </a:lnTo>
                  <a:lnTo>
                    <a:pt x="444" y="528"/>
                  </a:lnTo>
                  <a:lnTo>
                    <a:pt x="438" y="528"/>
                  </a:lnTo>
                  <a:lnTo>
                    <a:pt x="432" y="528"/>
                  </a:lnTo>
                  <a:lnTo>
                    <a:pt x="426" y="528"/>
                  </a:lnTo>
                  <a:lnTo>
                    <a:pt x="420" y="522"/>
                  </a:lnTo>
                  <a:lnTo>
                    <a:pt x="414" y="516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402" y="510"/>
                  </a:lnTo>
                  <a:lnTo>
                    <a:pt x="396" y="510"/>
                  </a:lnTo>
                  <a:lnTo>
                    <a:pt x="390" y="504"/>
                  </a:lnTo>
                  <a:lnTo>
                    <a:pt x="378" y="504"/>
                  </a:lnTo>
                  <a:lnTo>
                    <a:pt x="372" y="510"/>
                  </a:lnTo>
                  <a:lnTo>
                    <a:pt x="360" y="516"/>
                  </a:lnTo>
                  <a:lnTo>
                    <a:pt x="348" y="516"/>
                  </a:lnTo>
                  <a:lnTo>
                    <a:pt x="348" y="522"/>
                  </a:lnTo>
                  <a:lnTo>
                    <a:pt x="342" y="522"/>
                  </a:lnTo>
                  <a:lnTo>
                    <a:pt x="336" y="522"/>
                  </a:lnTo>
                  <a:lnTo>
                    <a:pt x="330" y="516"/>
                  </a:lnTo>
                  <a:lnTo>
                    <a:pt x="324" y="504"/>
                  </a:lnTo>
                  <a:lnTo>
                    <a:pt x="312" y="492"/>
                  </a:lnTo>
                  <a:lnTo>
                    <a:pt x="306" y="486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294" y="486"/>
                  </a:lnTo>
                  <a:lnTo>
                    <a:pt x="276" y="480"/>
                  </a:lnTo>
                  <a:lnTo>
                    <a:pt x="264" y="480"/>
                  </a:lnTo>
                  <a:lnTo>
                    <a:pt x="258" y="480"/>
                  </a:lnTo>
                  <a:lnTo>
                    <a:pt x="252" y="486"/>
                  </a:lnTo>
                  <a:lnTo>
                    <a:pt x="246" y="486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34" y="480"/>
                  </a:lnTo>
                  <a:lnTo>
                    <a:pt x="216" y="486"/>
                  </a:lnTo>
                  <a:lnTo>
                    <a:pt x="198" y="498"/>
                  </a:lnTo>
                  <a:lnTo>
                    <a:pt x="198" y="516"/>
                  </a:lnTo>
                  <a:lnTo>
                    <a:pt x="198" y="522"/>
                  </a:lnTo>
                  <a:lnTo>
                    <a:pt x="192" y="528"/>
                  </a:lnTo>
                  <a:lnTo>
                    <a:pt x="186" y="534"/>
                  </a:lnTo>
                  <a:lnTo>
                    <a:pt x="180" y="540"/>
                  </a:lnTo>
                  <a:lnTo>
                    <a:pt x="174" y="546"/>
                  </a:lnTo>
                  <a:lnTo>
                    <a:pt x="174" y="558"/>
                  </a:lnTo>
                  <a:lnTo>
                    <a:pt x="174" y="564"/>
                  </a:lnTo>
                  <a:lnTo>
                    <a:pt x="174" y="570"/>
                  </a:lnTo>
                  <a:lnTo>
                    <a:pt x="174" y="576"/>
                  </a:lnTo>
                  <a:lnTo>
                    <a:pt x="174" y="582"/>
                  </a:lnTo>
                  <a:lnTo>
                    <a:pt x="168" y="588"/>
                  </a:lnTo>
                  <a:lnTo>
                    <a:pt x="168" y="582"/>
                  </a:lnTo>
                  <a:lnTo>
                    <a:pt x="162" y="576"/>
                  </a:lnTo>
                  <a:lnTo>
                    <a:pt x="156" y="576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2" y="552"/>
                  </a:lnTo>
                  <a:lnTo>
                    <a:pt x="126" y="552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64"/>
                  </a:lnTo>
                  <a:lnTo>
                    <a:pt x="114" y="564"/>
                  </a:lnTo>
                  <a:lnTo>
                    <a:pt x="114" y="570"/>
                  </a:lnTo>
                  <a:lnTo>
                    <a:pt x="114" y="576"/>
                  </a:lnTo>
                  <a:lnTo>
                    <a:pt x="108" y="576"/>
                  </a:lnTo>
                  <a:lnTo>
                    <a:pt x="114" y="576"/>
                  </a:lnTo>
                  <a:lnTo>
                    <a:pt x="96" y="558"/>
                  </a:lnTo>
                  <a:lnTo>
                    <a:pt x="96" y="552"/>
                  </a:lnTo>
                  <a:lnTo>
                    <a:pt x="102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0" y="534"/>
                  </a:lnTo>
                  <a:lnTo>
                    <a:pt x="84" y="540"/>
                  </a:lnTo>
                  <a:lnTo>
                    <a:pt x="72" y="540"/>
                  </a:lnTo>
                  <a:lnTo>
                    <a:pt x="42" y="522"/>
                  </a:lnTo>
                  <a:lnTo>
                    <a:pt x="42" y="516"/>
                  </a:lnTo>
                  <a:lnTo>
                    <a:pt x="42" y="504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2" y="498"/>
                  </a:lnTo>
                  <a:lnTo>
                    <a:pt x="42" y="492"/>
                  </a:lnTo>
                  <a:lnTo>
                    <a:pt x="36" y="492"/>
                  </a:lnTo>
                  <a:lnTo>
                    <a:pt x="30" y="492"/>
                  </a:lnTo>
                  <a:lnTo>
                    <a:pt x="30" y="486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6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0" y="438"/>
                  </a:lnTo>
                  <a:lnTo>
                    <a:pt x="0" y="432"/>
                  </a:lnTo>
                  <a:lnTo>
                    <a:pt x="6" y="426"/>
                  </a:lnTo>
                  <a:lnTo>
                    <a:pt x="6" y="42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1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453" y="964"/>
              <a:ext cx="668" cy="576"/>
            </a:xfrm>
            <a:custGeom>
              <a:avLst/>
              <a:gdLst>
                <a:gd name="T0" fmla="*/ 30 w 786"/>
                <a:gd name="T1" fmla="*/ 132 h 678"/>
                <a:gd name="T2" fmla="*/ 48 w 786"/>
                <a:gd name="T3" fmla="*/ 114 h 678"/>
                <a:gd name="T4" fmla="*/ 42 w 786"/>
                <a:gd name="T5" fmla="*/ 84 h 678"/>
                <a:gd name="T6" fmla="*/ 60 w 786"/>
                <a:gd name="T7" fmla="*/ 66 h 678"/>
                <a:gd name="T8" fmla="*/ 78 w 786"/>
                <a:gd name="T9" fmla="*/ 54 h 678"/>
                <a:gd name="T10" fmla="*/ 108 w 786"/>
                <a:gd name="T11" fmla="*/ 42 h 678"/>
                <a:gd name="T12" fmla="*/ 108 w 786"/>
                <a:gd name="T13" fmla="*/ 18 h 678"/>
                <a:gd name="T14" fmla="*/ 120 w 786"/>
                <a:gd name="T15" fmla="*/ 6 h 678"/>
                <a:gd name="T16" fmla="*/ 138 w 786"/>
                <a:gd name="T17" fmla="*/ 12 h 678"/>
                <a:gd name="T18" fmla="*/ 168 w 786"/>
                <a:gd name="T19" fmla="*/ 18 h 678"/>
                <a:gd name="T20" fmla="*/ 198 w 786"/>
                <a:gd name="T21" fmla="*/ 12 h 678"/>
                <a:gd name="T22" fmla="*/ 222 w 786"/>
                <a:gd name="T23" fmla="*/ 18 h 678"/>
                <a:gd name="T24" fmla="*/ 252 w 786"/>
                <a:gd name="T25" fmla="*/ 30 h 678"/>
                <a:gd name="T26" fmla="*/ 276 w 786"/>
                <a:gd name="T27" fmla="*/ 36 h 678"/>
                <a:gd name="T28" fmla="*/ 300 w 786"/>
                <a:gd name="T29" fmla="*/ 48 h 678"/>
                <a:gd name="T30" fmla="*/ 306 w 786"/>
                <a:gd name="T31" fmla="*/ 72 h 678"/>
                <a:gd name="T32" fmla="*/ 330 w 786"/>
                <a:gd name="T33" fmla="*/ 90 h 678"/>
                <a:gd name="T34" fmla="*/ 354 w 786"/>
                <a:gd name="T35" fmla="*/ 96 h 678"/>
                <a:gd name="T36" fmla="*/ 390 w 786"/>
                <a:gd name="T37" fmla="*/ 102 h 678"/>
                <a:gd name="T38" fmla="*/ 414 w 786"/>
                <a:gd name="T39" fmla="*/ 108 h 678"/>
                <a:gd name="T40" fmla="*/ 432 w 786"/>
                <a:gd name="T41" fmla="*/ 114 h 678"/>
                <a:gd name="T42" fmla="*/ 456 w 786"/>
                <a:gd name="T43" fmla="*/ 132 h 678"/>
                <a:gd name="T44" fmla="*/ 480 w 786"/>
                <a:gd name="T45" fmla="*/ 144 h 678"/>
                <a:gd name="T46" fmla="*/ 510 w 786"/>
                <a:gd name="T47" fmla="*/ 138 h 678"/>
                <a:gd name="T48" fmla="*/ 534 w 786"/>
                <a:gd name="T49" fmla="*/ 108 h 678"/>
                <a:gd name="T50" fmla="*/ 528 w 786"/>
                <a:gd name="T51" fmla="*/ 90 h 678"/>
                <a:gd name="T52" fmla="*/ 528 w 786"/>
                <a:gd name="T53" fmla="*/ 60 h 678"/>
                <a:gd name="T54" fmla="*/ 534 w 786"/>
                <a:gd name="T55" fmla="*/ 48 h 678"/>
                <a:gd name="T56" fmla="*/ 552 w 786"/>
                <a:gd name="T57" fmla="*/ 30 h 678"/>
                <a:gd name="T58" fmla="*/ 594 w 786"/>
                <a:gd name="T59" fmla="*/ 18 h 678"/>
                <a:gd name="T60" fmla="*/ 618 w 786"/>
                <a:gd name="T61" fmla="*/ 12 h 678"/>
                <a:gd name="T62" fmla="*/ 648 w 786"/>
                <a:gd name="T63" fmla="*/ 12 h 678"/>
                <a:gd name="T64" fmla="*/ 672 w 786"/>
                <a:gd name="T65" fmla="*/ 24 h 678"/>
                <a:gd name="T66" fmla="*/ 684 w 786"/>
                <a:gd name="T67" fmla="*/ 42 h 678"/>
                <a:gd name="T68" fmla="*/ 708 w 786"/>
                <a:gd name="T69" fmla="*/ 48 h 678"/>
                <a:gd name="T70" fmla="*/ 732 w 786"/>
                <a:gd name="T71" fmla="*/ 54 h 678"/>
                <a:gd name="T72" fmla="*/ 762 w 786"/>
                <a:gd name="T73" fmla="*/ 54 h 678"/>
                <a:gd name="T74" fmla="*/ 780 w 786"/>
                <a:gd name="T75" fmla="*/ 66 h 678"/>
                <a:gd name="T76" fmla="*/ 786 w 786"/>
                <a:gd name="T77" fmla="*/ 78 h 678"/>
                <a:gd name="T78" fmla="*/ 774 w 786"/>
                <a:gd name="T79" fmla="*/ 96 h 678"/>
                <a:gd name="T80" fmla="*/ 780 w 786"/>
                <a:gd name="T81" fmla="*/ 120 h 678"/>
                <a:gd name="T82" fmla="*/ 762 w 786"/>
                <a:gd name="T83" fmla="*/ 150 h 678"/>
                <a:gd name="T84" fmla="*/ 774 w 786"/>
                <a:gd name="T85" fmla="*/ 180 h 678"/>
                <a:gd name="T86" fmla="*/ 780 w 786"/>
                <a:gd name="T87" fmla="*/ 192 h 678"/>
                <a:gd name="T88" fmla="*/ 690 w 786"/>
                <a:gd name="T89" fmla="*/ 660 h 678"/>
                <a:gd name="T90" fmla="*/ 582 w 786"/>
                <a:gd name="T91" fmla="*/ 606 h 678"/>
                <a:gd name="T92" fmla="*/ 432 w 786"/>
                <a:gd name="T93" fmla="*/ 534 h 678"/>
                <a:gd name="T94" fmla="*/ 312 w 786"/>
                <a:gd name="T95" fmla="*/ 492 h 678"/>
                <a:gd name="T96" fmla="*/ 204 w 786"/>
                <a:gd name="T97" fmla="*/ 498 h 678"/>
                <a:gd name="T98" fmla="*/ 168 w 786"/>
                <a:gd name="T99" fmla="*/ 486 h 678"/>
                <a:gd name="T100" fmla="*/ 114 w 786"/>
                <a:gd name="T101" fmla="*/ 444 h 678"/>
                <a:gd name="T102" fmla="*/ 78 w 786"/>
                <a:gd name="T103" fmla="*/ 432 h 678"/>
                <a:gd name="T104" fmla="*/ 42 w 786"/>
                <a:gd name="T105" fmla="*/ 420 h 678"/>
                <a:gd name="T106" fmla="*/ 0 w 786"/>
                <a:gd name="T107" fmla="*/ 348 h 678"/>
                <a:gd name="T108" fmla="*/ 18 w 786"/>
                <a:gd name="T109" fmla="*/ 336 h 678"/>
                <a:gd name="T110" fmla="*/ 24 w 786"/>
                <a:gd name="T111" fmla="*/ 312 h 678"/>
                <a:gd name="T112" fmla="*/ 24 w 786"/>
                <a:gd name="T113" fmla="*/ 282 h 678"/>
                <a:gd name="T114" fmla="*/ 24 w 786"/>
                <a:gd name="T115" fmla="*/ 252 h 678"/>
                <a:gd name="T116" fmla="*/ 30 w 786"/>
                <a:gd name="T117" fmla="*/ 216 h 678"/>
                <a:gd name="T118" fmla="*/ 12 w 786"/>
                <a:gd name="T119" fmla="*/ 162 h 678"/>
                <a:gd name="T120" fmla="*/ 12 w 786"/>
                <a:gd name="T121" fmla="*/ 144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678"/>
                <a:gd name="T185" fmla="*/ 786 w 786"/>
                <a:gd name="T186" fmla="*/ 678 h 6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376" y="785"/>
              <a:ext cx="174" cy="301"/>
            </a:xfrm>
            <a:custGeom>
              <a:avLst/>
              <a:gdLst>
                <a:gd name="T0" fmla="*/ 66 w 204"/>
                <a:gd name="T1" fmla="*/ 18 h 354"/>
                <a:gd name="T2" fmla="*/ 84 w 204"/>
                <a:gd name="T3" fmla="*/ 6 h 354"/>
                <a:gd name="T4" fmla="*/ 108 w 204"/>
                <a:gd name="T5" fmla="*/ 0 h 354"/>
                <a:gd name="T6" fmla="*/ 114 w 204"/>
                <a:gd name="T7" fmla="*/ 6 h 354"/>
                <a:gd name="T8" fmla="*/ 114 w 204"/>
                <a:gd name="T9" fmla="*/ 6 h 354"/>
                <a:gd name="T10" fmla="*/ 132 w 204"/>
                <a:gd name="T11" fmla="*/ 12 h 354"/>
                <a:gd name="T12" fmla="*/ 138 w 204"/>
                <a:gd name="T13" fmla="*/ 24 h 354"/>
                <a:gd name="T14" fmla="*/ 150 w 204"/>
                <a:gd name="T15" fmla="*/ 30 h 354"/>
                <a:gd name="T16" fmla="*/ 168 w 204"/>
                <a:gd name="T17" fmla="*/ 18 h 354"/>
                <a:gd name="T18" fmla="*/ 180 w 204"/>
                <a:gd name="T19" fmla="*/ 24 h 354"/>
                <a:gd name="T20" fmla="*/ 168 w 204"/>
                <a:gd name="T21" fmla="*/ 42 h 354"/>
                <a:gd name="T22" fmla="*/ 150 w 204"/>
                <a:gd name="T23" fmla="*/ 48 h 354"/>
                <a:gd name="T24" fmla="*/ 144 w 204"/>
                <a:gd name="T25" fmla="*/ 66 h 354"/>
                <a:gd name="T26" fmla="*/ 162 w 204"/>
                <a:gd name="T27" fmla="*/ 78 h 354"/>
                <a:gd name="T28" fmla="*/ 174 w 204"/>
                <a:gd name="T29" fmla="*/ 90 h 354"/>
                <a:gd name="T30" fmla="*/ 174 w 204"/>
                <a:gd name="T31" fmla="*/ 108 h 354"/>
                <a:gd name="T32" fmla="*/ 168 w 204"/>
                <a:gd name="T33" fmla="*/ 126 h 354"/>
                <a:gd name="T34" fmla="*/ 150 w 204"/>
                <a:gd name="T35" fmla="*/ 138 h 354"/>
                <a:gd name="T36" fmla="*/ 138 w 204"/>
                <a:gd name="T37" fmla="*/ 144 h 354"/>
                <a:gd name="T38" fmla="*/ 126 w 204"/>
                <a:gd name="T39" fmla="*/ 156 h 354"/>
                <a:gd name="T40" fmla="*/ 132 w 204"/>
                <a:gd name="T41" fmla="*/ 174 h 354"/>
                <a:gd name="T42" fmla="*/ 138 w 204"/>
                <a:gd name="T43" fmla="*/ 180 h 354"/>
                <a:gd name="T44" fmla="*/ 156 w 204"/>
                <a:gd name="T45" fmla="*/ 180 h 354"/>
                <a:gd name="T46" fmla="*/ 162 w 204"/>
                <a:gd name="T47" fmla="*/ 186 h 354"/>
                <a:gd name="T48" fmla="*/ 168 w 204"/>
                <a:gd name="T49" fmla="*/ 192 h 354"/>
                <a:gd name="T50" fmla="*/ 180 w 204"/>
                <a:gd name="T51" fmla="*/ 198 h 354"/>
                <a:gd name="T52" fmla="*/ 180 w 204"/>
                <a:gd name="T53" fmla="*/ 210 h 354"/>
                <a:gd name="T54" fmla="*/ 186 w 204"/>
                <a:gd name="T55" fmla="*/ 204 h 354"/>
                <a:gd name="T56" fmla="*/ 198 w 204"/>
                <a:gd name="T57" fmla="*/ 216 h 354"/>
                <a:gd name="T58" fmla="*/ 198 w 204"/>
                <a:gd name="T59" fmla="*/ 240 h 354"/>
                <a:gd name="T60" fmla="*/ 192 w 204"/>
                <a:gd name="T61" fmla="*/ 252 h 354"/>
                <a:gd name="T62" fmla="*/ 168 w 204"/>
                <a:gd name="T63" fmla="*/ 264 h 354"/>
                <a:gd name="T64" fmla="*/ 156 w 204"/>
                <a:gd name="T65" fmla="*/ 276 h 354"/>
                <a:gd name="T66" fmla="*/ 138 w 204"/>
                <a:gd name="T67" fmla="*/ 282 h 354"/>
                <a:gd name="T68" fmla="*/ 132 w 204"/>
                <a:gd name="T69" fmla="*/ 306 h 354"/>
                <a:gd name="T70" fmla="*/ 132 w 204"/>
                <a:gd name="T71" fmla="*/ 330 h 354"/>
                <a:gd name="T72" fmla="*/ 120 w 204"/>
                <a:gd name="T73" fmla="*/ 342 h 354"/>
                <a:gd name="T74" fmla="*/ 102 w 204"/>
                <a:gd name="T75" fmla="*/ 354 h 354"/>
                <a:gd name="T76" fmla="*/ 78 w 204"/>
                <a:gd name="T77" fmla="*/ 276 h 354"/>
                <a:gd name="T78" fmla="*/ 42 w 204"/>
                <a:gd name="T79" fmla="*/ 234 h 354"/>
                <a:gd name="T80" fmla="*/ 18 w 204"/>
                <a:gd name="T81" fmla="*/ 210 h 354"/>
                <a:gd name="T82" fmla="*/ 6 w 204"/>
                <a:gd name="T83" fmla="*/ 192 h 354"/>
                <a:gd name="T84" fmla="*/ 0 w 204"/>
                <a:gd name="T85" fmla="*/ 168 h 354"/>
                <a:gd name="T86" fmla="*/ 12 w 204"/>
                <a:gd name="T87" fmla="*/ 156 h 354"/>
                <a:gd name="T88" fmla="*/ 30 w 204"/>
                <a:gd name="T89" fmla="*/ 138 h 354"/>
                <a:gd name="T90" fmla="*/ 36 w 204"/>
                <a:gd name="T91" fmla="*/ 120 h 354"/>
                <a:gd name="T92" fmla="*/ 48 w 204"/>
                <a:gd name="T93" fmla="*/ 108 h 354"/>
                <a:gd name="T94" fmla="*/ 42 w 204"/>
                <a:gd name="T95" fmla="*/ 96 h 354"/>
                <a:gd name="T96" fmla="*/ 36 w 204"/>
                <a:gd name="T97" fmla="*/ 78 h 354"/>
                <a:gd name="T98" fmla="*/ 42 w 204"/>
                <a:gd name="T99" fmla="*/ 60 h 354"/>
                <a:gd name="T100" fmla="*/ 42 w 204"/>
                <a:gd name="T101" fmla="*/ 48 h 354"/>
                <a:gd name="T102" fmla="*/ 36 w 204"/>
                <a:gd name="T103" fmla="*/ 42 h 354"/>
                <a:gd name="T104" fmla="*/ 48 w 204"/>
                <a:gd name="T105" fmla="*/ 30 h 354"/>
                <a:gd name="T106" fmla="*/ 54 w 204"/>
                <a:gd name="T107" fmla="*/ 24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4"/>
                <a:gd name="T163" fmla="*/ 0 h 354"/>
                <a:gd name="T164" fmla="*/ 204 w 204"/>
                <a:gd name="T165" fmla="*/ 354 h 3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1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316" y="1657"/>
              <a:ext cx="265" cy="189"/>
            </a:xfrm>
            <a:custGeom>
              <a:avLst/>
              <a:gdLst>
                <a:gd name="T0" fmla="*/ 54 w 312"/>
                <a:gd name="T1" fmla="*/ 30 h 222"/>
                <a:gd name="T2" fmla="*/ 66 w 312"/>
                <a:gd name="T3" fmla="*/ 12 h 222"/>
                <a:gd name="T4" fmla="*/ 78 w 312"/>
                <a:gd name="T5" fmla="*/ 12 h 222"/>
                <a:gd name="T6" fmla="*/ 102 w 312"/>
                <a:gd name="T7" fmla="*/ 12 h 222"/>
                <a:gd name="T8" fmla="*/ 108 w 312"/>
                <a:gd name="T9" fmla="*/ 6 h 222"/>
                <a:gd name="T10" fmla="*/ 120 w 312"/>
                <a:gd name="T11" fmla="*/ 6 h 222"/>
                <a:gd name="T12" fmla="*/ 126 w 312"/>
                <a:gd name="T13" fmla="*/ 0 h 222"/>
                <a:gd name="T14" fmla="*/ 144 w 312"/>
                <a:gd name="T15" fmla="*/ 6 h 222"/>
                <a:gd name="T16" fmla="*/ 168 w 312"/>
                <a:gd name="T17" fmla="*/ 6 h 222"/>
                <a:gd name="T18" fmla="*/ 180 w 312"/>
                <a:gd name="T19" fmla="*/ 18 h 222"/>
                <a:gd name="T20" fmla="*/ 192 w 312"/>
                <a:gd name="T21" fmla="*/ 30 h 222"/>
                <a:gd name="T22" fmla="*/ 210 w 312"/>
                <a:gd name="T23" fmla="*/ 42 h 222"/>
                <a:gd name="T24" fmla="*/ 222 w 312"/>
                <a:gd name="T25" fmla="*/ 60 h 222"/>
                <a:gd name="T26" fmla="*/ 228 w 312"/>
                <a:gd name="T27" fmla="*/ 66 h 222"/>
                <a:gd name="T28" fmla="*/ 246 w 312"/>
                <a:gd name="T29" fmla="*/ 84 h 222"/>
                <a:gd name="T30" fmla="*/ 258 w 312"/>
                <a:gd name="T31" fmla="*/ 96 h 222"/>
                <a:gd name="T32" fmla="*/ 270 w 312"/>
                <a:gd name="T33" fmla="*/ 108 h 222"/>
                <a:gd name="T34" fmla="*/ 270 w 312"/>
                <a:gd name="T35" fmla="*/ 120 h 222"/>
                <a:gd name="T36" fmla="*/ 276 w 312"/>
                <a:gd name="T37" fmla="*/ 138 h 222"/>
                <a:gd name="T38" fmla="*/ 276 w 312"/>
                <a:gd name="T39" fmla="*/ 156 h 222"/>
                <a:gd name="T40" fmla="*/ 294 w 312"/>
                <a:gd name="T41" fmla="*/ 168 h 222"/>
                <a:gd name="T42" fmla="*/ 306 w 312"/>
                <a:gd name="T43" fmla="*/ 180 h 222"/>
                <a:gd name="T44" fmla="*/ 306 w 312"/>
                <a:gd name="T45" fmla="*/ 198 h 222"/>
                <a:gd name="T46" fmla="*/ 306 w 312"/>
                <a:gd name="T47" fmla="*/ 216 h 222"/>
                <a:gd name="T48" fmla="*/ 282 w 312"/>
                <a:gd name="T49" fmla="*/ 216 h 222"/>
                <a:gd name="T50" fmla="*/ 264 w 312"/>
                <a:gd name="T51" fmla="*/ 222 h 222"/>
                <a:gd name="T52" fmla="*/ 246 w 312"/>
                <a:gd name="T53" fmla="*/ 216 h 222"/>
                <a:gd name="T54" fmla="*/ 228 w 312"/>
                <a:gd name="T55" fmla="*/ 210 h 222"/>
                <a:gd name="T56" fmla="*/ 216 w 312"/>
                <a:gd name="T57" fmla="*/ 204 h 222"/>
                <a:gd name="T58" fmla="*/ 138 w 312"/>
                <a:gd name="T59" fmla="*/ 204 h 222"/>
                <a:gd name="T60" fmla="*/ 108 w 312"/>
                <a:gd name="T61" fmla="*/ 210 h 222"/>
                <a:gd name="T62" fmla="*/ 78 w 312"/>
                <a:gd name="T63" fmla="*/ 210 h 222"/>
                <a:gd name="T64" fmla="*/ 54 w 312"/>
                <a:gd name="T65" fmla="*/ 216 h 222"/>
                <a:gd name="T66" fmla="*/ 48 w 312"/>
                <a:gd name="T67" fmla="*/ 210 h 222"/>
                <a:gd name="T68" fmla="*/ 60 w 312"/>
                <a:gd name="T69" fmla="*/ 204 h 222"/>
                <a:gd name="T70" fmla="*/ 42 w 312"/>
                <a:gd name="T71" fmla="*/ 210 h 222"/>
                <a:gd name="T72" fmla="*/ 42 w 312"/>
                <a:gd name="T73" fmla="*/ 198 h 222"/>
                <a:gd name="T74" fmla="*/ 60 w 312"/>
                <a:gd name="T75" fmla="*/ 180 h 222"/>
                <a:gd name="T76" fmla="*/ 96 w 312"/>
                <a:gd name="T77" fmla="*/ 168 h 222"/>
                <a:gd name="T78" fmla="*/ 120 w 312"/>
                <a:gd name="T79" fmla="*/ 168 h 222"/>
                <a:gd name="T80" fmla="*/ 126 w 312"/>
                <a:gd name="T81" fmla="*/ 162 h 222"/>
                <a:gd name="T82" fmla="*/ 144 w 312"/>
                <a:gd name="T83" fmla="*/ 168 h 222"/>
                <a:gd name="T84" fmla="*/ 162 w 312"/>
                <a:gd name="T85" fmla="*/ 174 h 222"/>
                <a:gd name="T86" fmla="*/ 180 w 312"/>
                <a:gd name="T87" fmla="*/ 168 h 222"/>
                <a:gd name="T88" fmla="*/ 174 w 312"/>
                <a:gd name="T89" fmla="*/ 156 h 222"/>
                <a:gd name="T90" fmla="*/ 156 w 312"/>
                <a:gd name="T91" fmla="*/ 156 h 222"/>
                <a:gd name="T92" fmla="*/ 138 w 312"/>
                <a:gd name="T93" fmla="*/ 150 h 222"/>
                <a:gd name="T94" fmla="*/ 120 w 312"/>
                <a:gd name="T95" fmla="*/ 150 h 222"/>
                <a:gd name="T96" fmla="*/ 108 w 312"/>
                <a:gd name="T97" fmla="*/ 150 h 222"/>
                <a:gd name="T98" fmla="*/ 48 w 312"/>
                <a:gd name="T99" fmla="*/ 156 h 222"/>
                <a:gd name="T100" fmla="*/ 48 w 312"/>
                <a:gd name="T101" fmla="*/ 144 h 222"/>
                <a:gd name="T102" fmla="*/ 42 w 312"/>
                <a:gd name="T103" fmla="*/ 138 h 222"/>
                <a:gd name="T104" fmla="*/ 36 w 312"/>
                <a:gd name="T105" fmla="*/ 132 h 222"/>
                <a:gd name="T106" fmla="*/ 30 w 312"/>
                <a:gd name="T107" fmla="*/ 114 h 222"/>
                <a:gd name="T108" fmla="*/ 18 w 312"/>
                <a:gd name="T109" fmla="*/ 102 h 222"/>
                <a:gd name="T110" fmla="*/ 6 w 312"/>
                <a:gd name="T111" fmla="*/ 96 h 222"/>
                <a:gd name="T112" fmla="*/ 30 w 312"/>
                <a:gd name="T113" fmla="*/ 84 h 222"/>
                <a:gd name="T114" fmla="*/ 48 w 312"/>
                <a:gd name="T115" fmla="*/ 60 h 222"/>
                <a:gd name="T116" fmla="*/ 54 w 312"/>
                <a:gd name="T117" fmla="*/ 36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12"/>
                <a:gd name="T178" fmla="*/ 0 h 222"/>
                <a:gd name="T179" fmla="*/ 312 w 312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12" h="222">
                  <a:moveTo>
                    <a:pt x="54" y="36"/>
                  </a:move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28" y="66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40" y="78"/>
                  </a:lnTo>
                  <a:lnTo>
                    <a:pt x="246" y="84"/>
                  </a:lnTo>
                  <a:lnTo>
                    <a:pt x="252" y="84"/>
                  </a:lnTo>
                  <a:lnTo>
                    <a:pt x="252" y="90"/>
                  </a:lnTo>
                  <a:lnTo>
                    <a:pt x="258" y="90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70" y="114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76" y="150"/>
                  </a:lnTo>
                  <a:lnTo>
                    <a:pt x="276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68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74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06" y="186"/>
                  </a:lnTo>
                  <a:lnTo>
                    <a:pt x="312" y="186"/>
                  </a:lnTo>
                  <a:lnTo>
                    <a:pt x="306" y="192"/>
                  </a:lnTo>
                  <a:lnTo>
                    <a:pt x="306" y="198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0"/>
                  </a:lnTo>
                  <a:lnTo>
                    <a:pt x="306" y="216"/>
                  </a:lnTo>
                  <a:lnTo>
                    <a:pt x="300" y="216"/>
                  </a:lnTo>
                  <a:lnTo>
                    <a:pt x="294" y="216"/>
                  </a:lnTo>
                  <a:lnTo>
                    <a:pt x="288" y="216"/>
                  </a:lnTo>
                  <a:lnTo>
                    <a:pt x="282" y="216"/>
                  </a:lnTo>
                  <a:lnTo>
                    <a:pt x="276" y="216"/>
                  </a:lnTo>
                  <a:lnTo>
                    <a:pt x="270" y="216"/>
                  </a:lnTo>
                  <a:lnTo>
                    <a:pt x="264" y="216"/>
                  </a:lnTo>
                  <a:lnTo>
                    <a:pt x="264" y="222"/>
                  </a:lnTo>
                  <a:lnTo>
                    <a:pt x="258" y="222"/>
                  </a:lnTo>
                  <a:lnTo>
                    <a:pt x="258" y="216"/>
                  </a:lnTo>
                  <a:lnTo>
                    <a:pt x="252" y="216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10"/>
                  </a:lnTo>
                  <a:lnTo>
                    <a:pt x="228" y="210"/>
                  </a:lnTo>
                  <a:lnTo>
                    <a:pt x="222" y="210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3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4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96" y="216"/>
                  </a:lnTo>
                  <a:lnTo>
                    <a:pt x="84" y="216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8" y="204"/>
                  </a:lnTo>
                  <a:lnTo>
                    <a:pt x="42" y="204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90" y="180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38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56"/>
                  </a:lnTo>
                  <a:lnTo>
                    <a:pt x="174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56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132" y="144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50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0" y="156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48" y="144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2" y="102"/>
                  </a:lnTo>
                  <a:lnTo>
                    <a:pt x="6" y="102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66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1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428" y="1830"/>
              <a:ext cx="306" cy="230"/>
            </a:xfrm>
            <a:custGeom>
              <a:avLst/>
              <a:gdLst>
                <a:gd name="T0" fmla="*/ 18 w 360"/>
                <a:gd name="T1" fmla="*/ 54 h 270"/>
                <a:gd name="T2" fmla="*/ 54 w 360"/>
                <a:gd name="T3" fmla="*/ 42 h 270"/>
                <a:gd name="T4" fmla="*/ 54 w 360"/>
                <a:gd name="T5" fmla="*/ 30 h 270"/>
                <a:gd name="T6" fmla="*/ 66 w 360"/>
                <a:gd name="T7" fmla="*/ 18 h 270"/>
                <a:gd name="T8" fmla="*/ 78 w 360"/>
                <a:gd name="T9" fmla="*/ 0 h 270"/>
                <a:gd name="T10" fmla="*/ 102 w 360"/>
                <a:gd name="T11" fmla="*/ 6 h 270"/>
                <a:gd name="T12" fmla="*/ 126 w 360"/>
                <a:gd name="T13" fmla="*/ 18 h 270"/>
                <a:gd name="T14" fmla="*/ 156 w 360"/>
                <a:gd name="T15" fmla="*/ 12 h 270"/>
                <a:gd name="T16" fmla="*/ 168 w 360"/>
                <a:gd name="T17" fmla="*/ 24 h 270"/>
                <a:gd name="T18" fmla="*/ 192 w 360"/>
                <a:gd name="T19" fmla="*/ 18 h 270"/>
                <a:gd name="T20" fmla="*/ 210 w 360"/>
                <a:gd name="T21" fmla="*/ 30 h 270"/>
                <a:gd name="T22" fmla="*/ 228 w 360"/>
                <a:gd name="T23" fmla="*/ 24 h 270"/>
                <a:gd name="T24" fmla="*/ 246 w 360"/>
                <a:gd name="T25" fmla="*/ 24 h 270"/>
                <a:gd name="T26" fmla="*/ 264 w 360"/>
                <a:gd name="T27" fmla="*/ 24 h 270"/>
                <a:gd name="T28" fmla="*/ 276 w 360"/>
                <a:gd name="T29" fmla="*/ 12 h 270"/>
                <a:gd name="T30" fmla="*/ 288 w 360"/>
                <a:gd name="T31" fmla="*/ 12 h 270"/>
                <a:gd name="T32" fmla="*/ 306 w 360"/>
                <a:gd name="T33" fmla="*/ 30 h 270"/>
                <a:gd name="T34" fmla="*/ 312 w 360"/>
                <a:gd name="T35" fmla="*/ 54 h 270"/>
                <a:gd name="T36" fmla="*/ 318 w 360"/>
                <a:gd name="T37" fmla="*/ 72 h 270"/>
                <a:gd name="T38" fmla="*/ 324 w 360"/>
                <a:gd name="T39" fmla="*/ 78 h 270"/>
                <a:gd name="T40" fmla="*/ 330 w 360"/>
                <a:gd name="T41" fmla="*/ 108 h 270"/>
                <a:gd name="T42" fmla="*/ 342 w 360"/>
                <a:gd name="T43" fmla="*/ 126 h 270"/>
                <a:gd name="T44" fmla="*/ 336 w 360"/>
                <a:gd name="T45" fmla="*/ 138 h 270"/>
                <a:gd name="T46" fmla="*/ 336 w 360"/>
                <a:gd name="T47" fmla="*/ 150 h 270"/>
                <a:gd name="T48" fmla="*/ 354 w 360"/>
                <a:gd name="T49" fmla="*/ 156 h 270"/>
                <a:gd name="T50" fmla="*/ 360 w 360"/>
                <a:gd name="T51" fmla="*/ 174 h 270"/>
                <a:gd name="T52" fmla="*/ 354 w 360"/>
                <a:gd name="T53" fmla="*/ 192 h 270"/>
                <a:gd name="T54" fmla="*/ 354 w 360"/>
                <a:gd name="T55" fmla="*/ 210 h 270"/>
                <a:gd name="T56" fmla="*/ 336 w 360"/>
                <a:gd name="T57" fmla="*/ 204 h 270"/>
                <a:gd name="T58" fmla="*/ 336 w 360"/>
                <a:gd name="T59" fmla="*/ 216 h 270"/>
                <a:gd name="T60" fmla="*/ 348 w 360"/>
                <a:gd name="T61" fmla="*/ 228 h 270"/>
                <a:gd name="T62" fmla="*/ 342 w 360"/>
                <a:gd name="T63" fmla="*/ 246 h 270"/>
                <a:gd name="T64" fmla="*/ 318 w 360"/>
                <a:gd name="T65" fmla="*/ 246 h 270"/>
                <a:gd name="T66" fmla="*/ 306 w 360"/>
                <a:gd name="T67" fmla="*/ 264 h 270"/>
                <a:gd name="T68" fmla="*/ 288 w 360"/>
                <a:gd name="T69" fmla="*/ 270 h 270"/>
                <a:gd name="T70" fmla="*/ 270 w 360"/>
                <a:gd name="T71" fmla="*/ 264 h 270"/>
                <a:gd name="T72" fmla="*/ 276 w 360"/>
                <a:gd name="T73" fmla="*/ 234 h 270"/>
                <a:gd name="T74" fmla="*/ 264 w 360"/>
                <a:gd name="T75" fmla="*/ 210 h 270"/>
                <a:gd name="T76" fmla="*/ 258 w 360"/>
                <a:gd name="T77" fmla="*/ 204 h 270"/>
                <a:gd name="T78" fmla="*/ 234 w 360"/>
                <a:gd name="T79" fmla="*/ 204 h 270"/>
                <a:gd name="T80" fmla="*/ 210 w 360"/>
                <a:gd name="T81" fmla="*/ 216 h 270"/>
                <a:gd name="T82" fmla="*/ 222 w 360"/>
                <a:gd name="T83" fmla="*/ 192 h 270"/>
                <a:gd name="T84" fmla="*/ 210 w 360"/>
                <a:gd name="T85" fmla="*/ 168 h 270"/>
                <a:gd name="T86" fmla="*/ 198 w 360"/>
                <a:gd name="T87" fmla="*/ 144 h 270"/>
                <a:gd name="T88" fmla="*/ 138 w 360"/>
                <a:gd name="T89" fmla="*/ 132 h 270"/>
                <a:gd name="T90" fmla="*/ 120 w 360"/>
                <a:gd name="T91" fmla="*/ 150 h 270"/>
                <a:gd name="T92" fmla="*/ 102 w 360"/>
                <a:gd name="T93" fmla="*/ 168 h 270"/>
                <a:gd name="T94" fmla="*/ 84 w 360"/>
                <a:gd name="T95" fmla="*/ 174 h 270"/>
                <a:gd name="T96" fmla="*/ 78 w 360"/>
                <a:gd name="T97" fmla="*/ 174 h 270"/>
                <a:gd name="T98" fmla="*/ 72 w 360"/>
                <a:gd name="T99" fmla="*/ 162 h 270"/>
                <a:gd name="T100" fmla="*/ 60 w 360"/>
                <a:gd name="T101" fmla="*/ 150 h 270"/>
                <a:gd name="T102" fmla="*/ 60 w 360"/>
                <a:gd name="T103" fmla="*/ 138 h 270"/>
                <a:gd name="T104" fmla="*/ 42 w 360"/>
                <a:gd name="T105" fmla="*/ 126 h 270"/>
                <a:gd name="T106" fmla="*/ 30 w 360"/>
                <a:gd name="T107" fmla="*/ 120 h 270"/>
                <a:gd name="T108" fmla="*/ 12 w 360"/>
                <a:gd name="T109" fmla="*/ 102 h 270"/>
                <a:gd name="T110" fmla="*/ 12 w 360"/>
                <a:gd name="T111" fmla="*/ 102 h 270"/>
                <a:gd name="T112" fmla="*/ 6 w 360"/>
                <a:gd name="T113" fmla="*/ 84 h 270"/>
                <a:gd name="T114" fmla="*/ 0 w 360"/>
                <a:gd name="T115" fmla="*/ 78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0"/>
                <a:gd name="T175" fmla="*/ 0 h 270"/>
                <a:gd name="T176" fmla="*/ 360 w 360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0" h="270">
                  <a:moveTo>
                    <a:pt x="0" y="78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204" y="24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94" y="24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306" y="30"/>
                  </a:lnTo>
                  <a:lnTo>
                    <a:pt x="306" y="36"/>
                  </a:lnTo>
                  <a:lnTo>
                    <a:pt x="306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54"/>
                  </a:lnTo>
                  <a:lnTo>
                    <a:pt x="312" y="60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18" y="66"/>
                  </a:lnTo>
                  <a:lnTo>
                    <a:pt x="318" y="72"/>
                  </a:lnTo>
                  <a:lnTo>
                    <a:pt x="312" y="72"/>
                  </a:lnTo>
                  <a:lnTo>
                    <a:pt x="312" y="78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0" y="102"/>
                  </a:lnTo>
                  <a:lnTo>
                    <a:pt x="330" y="108"/>
                  </a:lnTo>
                  <a:lnTo>
                    <a:pt x="336" y="108"/>
                  </a:lnTo>
                  <a:lnTo>
                    <a:pt x="336" y="114"/>
                  </a:lnTo>
                  <a:lnTo>
                    <a:pt x="342" y="114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2" y="162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48" y="162"/>
                  </a:lnTo>
                  <a:lnTo>
                    <a:pt x="348" y="168"/>
                  </a:lnTo>
                  <a:lnTo>
                    <a:pt x="348" y="174"/>
                  </a:lnTo>
                  <a:lnTo>
                    <a:pt x="354" y="174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8" y="186"/>
                  </a:lnTo>
                  <a:lnTo>
                    <a:pt x="348" y="192"/>
                  </a:lnTo>
                  <a:lnTo>
                    <a:pt x="354" y="192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36" y="210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34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36" y="246"/>
                  </a:lnTo>
                  <a:lnTo>
                    <a:pt x="336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2" y="246"/>
                  </a:lnTo>
                  <a:lnTo>
                    <a:pt x="306" y="252"/>
                  </a:lnTo>
                  <a:lnTo>
                    <a:pt x="312" y="252"/>
                  </a:lnTo>
                  <a:lnTo>
                    <a:pt x="306" y="258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2" y="264"/>
                  </a:lnTo>
                  <a:lnTo>
                    <a:pt x="282" y="258"/>
                  </a:lnTo>
                  <a:lnTo>
                    <a:pt x="276" y="258"/>
                  </a:lnTo>
                  <a:lnTo>
                    <a:pt x="270" y="258"/>
                  </a:lnTo>
                  <a:lnTo>
                    <a:pt x="270" y="264"/>
                  </a:lnTo>
                  <a:lnTo>
                    <a:pt x="270" y="258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6" y="240"/>
                  </a:lnTo>
                  <a:lnTo>
                    <a:pt x="276" y="234"/>
                  </a:lnTo>
                  <a:lnTo>
                    <a:pt x="276" y="228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70" y="216"/>
                  </a:lnTo>
                  <a:lnTo>
                    <a:pt x="270" y="210"/>
                  </a:lnTo>
                  <a:lnTo>
                    <a:pt x="264" y="210"/>
                  </a:lnTo>
                  <a:lnTo>
                    <a:pt x="264" y="204"/>
                  </a:lnTo>
                  <a:lnTo>
                    <a:pt x="258" y="204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46" y="204"/>
                  </a:lnTo>
                  <a:lnTo>
                    <a:pt x="246" y="210"/>
                  </a:lnTo>
                  <a:lnTo>
                    <a:pt x="240" y="210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10"/>
                  </a:lnTo>
                  <a:lnTo>
                    <a:pt x="222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38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50" y="132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84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15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494" y="1943"/>
              <a:ext cx="128" cy="127"/>
            </a:xfrm>
            <a:custGeom>
              <a:avLst/>
              <a:gdLst>
                <a:gd name="T0" fmla="*/ 12 w 150"/>
                <a:gd name="T1" fmla="*/ 42 h 150"/>
                <a:gd name="T2" fmla="*/ 18 w 150"/>
                <a:gd name="T3" fmla="*/ 42 h 150"/>
                <a:gd name="T4" fmla="*/ 30 w 150"/>
                <a:gd name="T5" fmla="*/ 36 h 150"/>
                <a:gd name="T6" fmla="*/ 36 w 150"/>
                <a:gd name="T7" fmla="*/ 24 h 150"/>
                <a:gd name="T8" fmla="*/ 42 w 150"/>
                <a:gd name="T9" fmla="*/ 12 h 150"/>
                <a:gd name="T10" fmla="*/ 54 w 150"/>
                <a:gd name="T11" fmla="*/ 6 h 150"/>
                <a:gd name="T12" fmla="*/ 60 w 150"/>
                <a:gd name="T13" fmla="*/ 6 h 150"/>
                <a:gd name="T14" fmla="*/ 108 w 150"/>
                <a:gd name="T15" fmla="*/ 6 h 150"/>
                <a:gd name="T16" fmla="*/ 120 w 150"/>
                <a:gd name="T17" fmla="*/ 18 h 150"/>
                <a:gd name="T18" fmla="*/ 126 w 150"/>
                <a:gd name="T19" fmla="*/ 30 h 150"/>
                <a:gd name="T20" fmla="*/ 132 w 150"/>
                <a:gd name="T21" fmla="*/ 42 h 150"/>
                <a:gd name="T22" fmla="*/ 138 w 150"/>
                <a:gd name="T23" fmla="*/ 54 h 150"/>
                <a:gd name="T24" fmla="*/ 144 w 150"/>
                <a:gd name="T25" fmla="*/ 66 h 150"/>
                <a:gd name="T26" fmla="*/ 132 w 150"/>
                <a:gd name="T27" fmla="*/ 72 h 150"/>
                <a:gd name="T28" fmla="*/ 132 w 150"/>
                <a:gd name="T29" fmla="*/ 78 h 150"/>
                <a:gd name="T30" fmla="*/ 144 w 150"/>
                <a:gd name="T31" fmla="*/ 78 h 150"/>
                <a:gd name="T32" fmla="*/ 150 w 150"/>
                <a:gd name="T33" fmla="*/ 84 h 150"/>
                <a:gd name="T34" fmla="*/ 138 w 150"/>
                <a:gd name="T35" fmla="*/ 96 h 150"/>
                <a:gd name="T36" fmla="*/ 132 w 150"/>
                <a:gd name="T37" fmla="*/ 114 h 150"/>
                <a:gd name="T38" fmla="*/ 120 w 150"/>
                <a:gd name="T39" fmla="*/ 120 h 150"/>
                <a:gd name="T40" fmla="*/ 108 w 150"/>
                <a:gd name="T41" fmla="*/ 132 h 150"/>
                <a:gd name="T42" fmla="*/ 102 w 150"/>
                <a:gd name="T43" fmla="*/ 144 h 150"/>
                <a:gd name="T44" fmla="*/ 84 w 150"/>
                <a:gd name="T45" fmla="*/ 144 h 150"/>
                <a:gd name="T46" fmla="*/ 54 w 150"/>
                <a:gd name="T47" fmla="*/ 132 h 150"/>
                <a:gd name="T48" fmla="*/ 48 w 150"/>
                <a:gd name="T49" fmla="*/ 126 h 150"/>
                <a:gd name="T50" fmla="*/ 42 w 150"/>
                <a:gd name="T51" fmla="*/ 126 h 150"/>
                <a:gd name="T52" fmla="*/ 48 w 150"/>
                <a:gd name="T53" fmla="*/ 120 h 150"/>
                <a:gd name="T54" fmla="*/ 48 w 150"/>
                <a:gd name="T55" fmla="*/ 114 h 150"/>
                <a:gd name="T56" fmla="*/ 42 w 150"/>
                <a:gd name="T57" fmla="*/ 114 h 150"/>
                <a:gd name="T58" fmla="*/ 30 w 150"/>
                <a:gd name="T59" fmla="*/ 114 h 150"/>
                <a:gd name="T60" fmla="*/ 24 w 150"/>
                <a:gd name="T61" fmla="*/ 102 h 150"/>
                <a:gd name="T62" fmla="*/ 30 w 150"/>
                <a:gd name="T63" fmla="*/ 102 h 150"/>
                <a:gd name="T64" fmla="*/ 24 w 150"/>
                <a:gd name="T65" fmla="*/ 90 h 150"/>
                <a:gd name="T66" fmla="*/ 12 w 150"/>
                <a:gd name="T67" fmla="*/ 84 h 150"/>
                <a:gd name="T68" fmla="*/ 6 w 150"/>
                <a:gd name="T69" fmla="*/ 84 h 150"/>
                <a:gd name="T70" fmla="*/ 12 w 150"/>
                <a:gd name="T71" fmla="*/ 72 h 150"/>
                <a:gd name="T72" fmla="*/ 12 w 150"/>
                <a:gd name="T73" fmla="*/ 78 h 150"/>
                <a:gd name="T74" fmla="*/ 24 w 150"/>
                <a:gd name="T75" fmla="*/ 72 h 150"/>
                <a:gd name="T76" fmla="*/ 12 w 150"/>
                <a:gd name="T77" fmla="*/ 72 h 150"/>
                <a:gd name="T78" fmla="*/ 6 w 150"/>
                <a:gd name="T79" fmla="*/ 72 h 150"/>
                <a:gd name="T80" fmla="*/ 6 w 150"/>
                <a:gd name="T81" fmla="*/ 66 h 150"/>
                <a:gd name="T82" fmla="*/ 12 w 150"/>
                <a:gd name="T83" fmla="*/ 54 h 150"/>
                <a:gd name="T84" fmla="*/ 6 w 150"/>
                <a:gd name="T85" fmla="*/ 54 h 1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0"/>
                <a:gd name="T130" fmla="*/ 0 h 150"/>
                <a:gd name="T131" fmla="*/ 150 w 150"/>
                <a:gd name="T132" fmla="*/ 150 h 15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0" h="150">
                  <a:moveTo>
                    <a:pt x="0" y="48"/>
                  </a:move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72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38" y="48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0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16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826" y="1728"/>
              <a:ext cx="336" cy="240"/>
            </a:xfrm>
            <a:custGeom>
              <a:avLst/>
              <a:gdLst>
                <a:gd name="T0" fmla="*/ 6 w 396"/>
                <a:gd name="T1" fmla="*/ 210 h 282"/>
                <a:gd name="T2" fmla="*/ 12 w 396"/>
                <a:gd name="T3" fmla="*/ 192 h 282"/>
                <a:gd name="T4" fmla="*/ 18 w 396"/>
                <a:gd name="T5" fmla="*/ 174 h 282"/>
                <a:gd name="T6" fmla="*/ 12 w 396"/>
                <a:gd name="T7" fmla="*/ 162 h 282"/>
                <a:gd name="T8" fmla="*/ 12 w 396"/>
                <a:gd name="T9" fmla="*/ 162 h 282"/>
                <a:gd name="T10" fmla="*/ 30 w 396"/>
                <a:gd name="T11" fmla="*/ 150 h 282"/>
                <a:gd name="T12" fmla="*/ 48 w 396"/>
                <a:gd name="T13" fmla="*/ 138 h 282"/>
                <a:gd name="T14" fmla="*/ 48 w 396"/>
                <a:gd name="T15" fmla="*/ 120 h 282"/>
                <a:gd name="T16" fmla="*/ 66 w 396"/>
                <a:gd name="T17" fmla="*/ 108 h 282"/>
                <a:gd name="T18" fmla="*/ 66 w 396"/>
                <a:gd name="T19" fmla="*/ 90 h 282"/>
                <a:gd name="T20" fmla="*/ 72 w 396"/>
                <a:gd name="T21" fmla="*/ 78 h 282"/>
                <a:gd name="T22" fmla="*/ 96 w 396"/>
                <a:gd name="T23" fmla="*/ 90 h 282"/>
                <a:gd name="T24" fmla="*/ 114 w 396"/>
                <a:gd name="T25" fmla="*/ 78 h 282"/>
                <a:gd name="T26" fmla="*/ 114 w 396"/>
                <a:gd name="T27" fmla="*/ 66 h 282"/>
                <a:gd name="T28" fmla="*/ 132 w 396"/>
                <a:gd name="T29" fmla="*/ 66 h 282"/>
                <a:gd name="T30" fmla="*/ 150 w 396"/>
                <a:gd name="T31" fmla="*/ 36 h 282"/>
                <a:gd name="T32" fmla="*/ 180 w 396"/>
                <a:gd name="T33" fmla="*/ 30 h 282"/>
                <a:gd name="T34" fmla="*/ 228 w 396"/>
                <a:gd name="T35" fmla="*/ 6 h 282"/>
                <a:gd name="T36" fmla="*/ 276 w 396"/>
                <a:gd name="T37" fmla="*/ 6 h 282"/>
                <a:gd name="T38" fmla="*/ 282 w 396"/>
                <a:gd name="T39" fmla="*/ 12 h 282"/>
                <a:gd name="T40" fmla="*/ 294 w 396"/>
                <a:gd name="T41" fmla="*/ 36 h 282"/>
                <a:gd name="T42" fmla="*/ 300 w 396"/>
                <a:gd name="T43" fmla="*/ 60 h 282"/>
                <a:gd name="T44" fmla="*/ 318 w 396"/>
                <a:gd name="T45" fmla="*/ 72 h 282"/>
                <a:gd name="T46" fmla="*/ 336 w 396"/>
                <a:gd name="T47" fmla="*/ 84 h 282"/>
                <a:gd name="T48" fmla="*/ 354 w 396"/>
                <a:gd name="T49" fmla="*/ 120 h 282"/>
                <a:gd name="T50" fmla="*/ 384 w 396"/>
                <a:gd name="T51" fmla="*/ 120 h 282"/>
                <a:gd name="T52" fmla="*/ 396 w 396"/>
                <a:gd name="T53" fmla="*/ 156 h 282"/>
                <a:gd name="T54" fmla="*/ 390 w 396"/>
                <a:gd name="T55" fmla="*/ 168 h 282"/>
                <a:gd name="T56" fmla="*/ 360 w 396"/>
                <a:gd name="T57" fmla="*/ 180 h 282"/>
                <a:gd name="T58" fmla="*/ 336 w 396"/>
                <a:gd name="T59" fmla="*/ 186 h 282"/>
                <a:gd name="T60" fmla="*/ 324 w 396"/>
                <a:gd name="T61" fmla="*/ 192 h 282"/>
                <a:gd name="T62" fmla="*/ 306 w 396"/>
                <a:gd name="T63" fmla="*/ 204 h 282"/>
                <a:gd name="T64" fmla="*/ 258 w 396"/>
                <a:gd name="T65" fmla="*/ 198 h 282"/>
                <a:gd name="T66" fmla="*/ 246 w 396"/>
                <a:gd name="T67" fmla="*/ 198 h 282"/>
                <a:gd name="T68" fmla="*/ 234 w 396"/>
                <a:gd name="T69" fmla="*/ 204 h 282"/>
                <a:gd name="T70" fmla="*/ 216 w 396"/>
                <a:gd name="T71" fmla="*/ 204 h 282"/>
                <a:gd name="T72" fmla="*/ 192 w 396"/>
                <a:gd name="T73" fmla="*/ 204 h 282"/>
                <a:gd name="T74" fmla="*/ 150 w 396"/>
                <a:gd name="T75" fmla="*/ 204 h 282"/>
                <a:gd name="T76" fmla="*/ 132 w 396"/>
                <a:gd name="T77" fmla="*/ 204 h 282"/>
                <a:gd name="T78" fmla="*/ 126 w 396"/>
                <a:gd name="T79" fmla="*/ 222 h 282"/>
                <a:gd name="T80" fmla="*/ 132 w 396"/>
                <a:gd name="T81" fmla="*/ 228 h 282"/>
                <a:gd name="T82" fmla="*/ 132 w 396"/>
                <a:gd name="T83" fmla="*/ 246 h 282"/>
                <a:gd name="T84" fmla="*/ 138 w 396"/>
                <a:gd name="T85" fmla="*/ 264 h 282"/>
                <a:gd name="T86" fmla="*/ 138 w 396"/>
                <a:gd name="T87" fmla="*/ 282 h 282"/>
                <a:gd name="T88" fmla="*/ 120 w 396"/>
                <a:gd name="T89" fmla="*/ 264 h 282"/>
                <a:gd name="T90" fmla="*/ 108 w 396"/>
                <a:gd name="T91" fmla="*/ 258 h 282"/>
                <a:gd name="T92" fmla="*/ 84 w 396"/>
                <a:gd name="T93" fmla="*/ 252 h 282"/>
                <a:gd name="T94" fmla="*/ 66 w 396"/>
                <a:gd name="T95" fmla="*/ 264 h 282"/>
                <a:gd name="T96" fmla="*/ 48 w 396"/>
                <a:gd name="T97" fmla="*/ 264 h 282"/>
                <a:gd name="T98" fmla="*/ 24 w 396"/>
                <a:gd name="T99" fmla="*/ 258 h 282"/>
                <a:gd name="T100" fmla="*/ 24 w 396"/>
                <a:gd name="T101" fmla="*/ 246 h 282"/>
                <a:gd name="T102" fmla="*/ 18 w 396"/>
                <a:gd name="T103" fmla="*/ 234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96"/>
                <a:gd name="T157" fmla="*/ 0 h 282"/>
                <a:gd name="T158" fmla="*/ 396 w 39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96" h="282">
                  <a:moveTo>
                    <a:pt x="0" y="228"/>
                  </a:moveTo>
                  <a:lnTo>
                    <a:pt x="0" y="222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72"/>
                  </a:lnTo>
                  <a:lnTo>
                    <a:pt x="126" y="66"/>
                  </a:lnTo>
                  <a:lnTo>
                    <a:pt x="126" y="72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32" y="54"/>
                  </a:lnTo>
                  <a:lnTo>
                    <a:pt x="132" y="48"/>
                  </a:lnTo>
                  <a:lnTo>
                    <a:pt x="144" y="48"/>
                  </a:lnTo>
                  <a:lnTo>
                    <a:pt x="150" y="36"/>
                  </a:lnTo>
                  <a:lnTo>
                    <a:pt x="162" y="42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40" y="0"/>
                  </a:lnTo>
                  <a:lnTo>
                    <a:pt x="252" y="0"/>
                  </a:lnTo>
                  <a:lnTo>
                    <a:pt x="264" y="0"/>
                  </a:lnTo>
                  <a:lnTo>
                    <a:pt x="276" y="0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288" y="0"/>
                  </a:lnTo>
                  <a:lnTo>
                    <a:pt x="288" y="6"/>
                  </a:lnTo>
                  <a:lnTo>
                    <a:pt x="282" y="12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294" y="48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6" y="60"/>
                  </a:lnTo>
                  <a:lnTo>
                    <a:pt x="306" y="66"/>
                  </a:lnTo>
                  <a:lnTo>
                    <a:pt x="312" y="66"/>
                  </a:lnTo>
                  <a:lnTo>
                    <a:pt x="312" y="72"/>
                  </a:lnTo>
                  <a:lnTo>
                    <a:pt x="318" y="72"/>
                  </a:lnTo>
                  <a:lnTo>
                    <a:pt x="324" y="72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84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54" y="120"/>
                  </a:lnTo>
                  <a:lnTo>
                    <a:pt x="366" y="120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78" y="132"/>
                  </a:lnTo>
                  <a:lnTo>
                    <a:pt x="378" y="138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2" y="180"/>
                  </a:lnTo>
                  <a:lnTo>
                    <a:pt x="366" y="180"/>
                  </a:lnTo>
                  <a:lnTo>
                    <a:pt x="360" y="180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2" y="180"/>
                  </a:lnTo>
                  <a:lnTo>
                    <a:pt x="342" y="186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192"/>
                  </a:lnTo>
                  <a:lnTo>
                    <a:pt x="330" y="198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06" y="204"/>
                  </a:lnTo>
                  <a:lnTo>
                    <a:pt x="300" y="204"/>
                  </a:lnTo>
                  <a:lnTo>
                    <a:pt x="300" y="198"/>
                  </a:lnTo>
                  <a:lnTo>
                    <a:pt x="264" y="192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52" y="192"/>
                  </a:lnTo>
                  <a:lnTo>
                    <a:pt x="252" y="198"/>
                  </a:lnTo>
                  <a:lnTo>
                    <a:pt x="246" y="198"/>
                  </a:lnTo>
                  <a:lnTo>
                    <a:pt x="246" y="204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22" y="198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8" y="198"/>
                  </a:lnTo>
                  <a:lnTo>
                    <a:pt x="132" y="198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6" y="216"/>
                  </a:lnTo>
                  <a:lnTo>
                    <a:pt x="132" y="216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8" y="240"/>
                  </a:lnTo>
                  <a:lnTo>
                    <a:pt x="132" y="240"/>
                  </a:lnTo>
                  <a:lnTo>
                    <a:pt x="138" y="246"/>
                  </a:lnTo>
                  <a:lnTo>
                    <a:pt x="132" y="246"/>
                  </a:lnTo>
                  <a:lnTo>
                    <a:pt x="138" y="246"/>
                  </a:lnTo>
                  <a:lnTo>
                    <a:pt x="138" y="252"/>
                  </a:lnTo>
                  <a:lnTo>
                    <a:pt x="138" y="258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70"/>
                  </a:lnTo>
                  <a:lnTo>
                    <a:pt x="138" y="276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14" y="252"/>
                  </a:lnTo>
                  <a:lnTo>
                    <a:pt x="114" y="258"/>
                  </a:lnTo>
                  <a:lnTo>
                    <a:pt x="108" y="258"/>
                  </a:lnTo>
                  <a:lnTo>
                    <a:pt x="108" y="252"/>
                  </a:lnTo>
                  <a:lnTo>
                    <a:pt x="102" y="252"/>
                  </a:lnTo>
                  <a:lnTo>
                    <a:pt x="96" y="252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54" y="270"/>
                  </a:lnTo>
                  <a:lnTo>
                    <a:pt x="48" y="270"/>
                  </a:lnTo>
                  <a:lnTo>
                    <a:pt x="48" y="264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58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0" y="234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17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922" y="1892"/>
              <a:ext cx="184" cy="270"/>
            </a:xfrm>
            <a:custGeom>
              <a:avLst/>
              <a:gdLst>
                <a:gd name="T0" fmla="*/ 18 w 216"/>
                <a:gd name="T1" fmla="*/ 72 h 318"/>
                <a:gd name="T2" fmla="*/ 24 w 216"/>
                <a:gd name="T3" fmla="*/ 60 h 318"/>
                <a:gd name="T4" fmla="*/ 18 w 216"/>
                <a:gd name="T5" fmla="*/ 48 h 318"/>
                <a:gd name="T6" fmla="*/ 18 w 216"/>
                <a:gd name="T7" fmla="*/ 42 h 318"/>
                <a:gd name="T8" fmla="*/ 12 w 216"/>
                <a:gd name="T9" fmla="*/ 30 h 318"/>
                <a:gd name="T10" fmla="*/ 18 w 216"/>
                <a:gd name="T11" fmla="*/ 18 h 318"/>
                <a:gd name="T12" fmla="*/ 24 w 216"/>
                <a:gd name="T13" fmla="*/ 12 h 318"/>
                <a:gd name="T14" fmla="*/ 48 w 216"/>
                <a:gd name="T15" fmla="*/ 12 h 318"/>
                <a:gd name="T16" fmla="*/ 78 w 216"/>
                <a:gd name="T17" fmla="*/ 6 h 318"/>
                <a:gd name="T18" fmla="*/ 102 w 216"/>
                <a:gd name="T19" fmla="*/ 12 h 318"/>
                <a:gd name="T20" fmla="*/ 114 w 216"/>
                <a:gd name="T21" fmla="*/ 12 h 318"/>
                <a:gd name="T22" fmla="*/ 126 w 216"/>
                <a:gd name="T23" fmla="*/ 12 h 318"/>
                <a:gd name="T24" fmla="*/ 138 w 216"/>
                <a:gd name="T25" fmla="*/ 0 h 318"/>
                <a:gd name="T26" fmla="*/ 144 w 216"/>
                <a:gd name="T27" fmla="*/ 0 h 318"/>
                <a:gd name="T28" fmla="*/ 162 w 216"/>
                <a:gd name="T29" fmla="*/ 6 h 318"/>
                <a:gd name="T30" fmla="*/ 156 w 216"/>
                <a:gd name="T31" fmla="*/ 30 h 318"/>
                <a:gd name="T32" fmla="*/ 174 w 216"/>
                <a:gd name="T33" fmla="*/ 36 h 318"/>
                <a:gd name="T34" fmla="*/ 180 w 216"/>
                <a:gd name="T35" fmla="*/ 54 h 318"/>
                <a:gd name="T36" fmla="*/ 180 w 216"/>
                <a:gd name="T37" fmla="*/ 66 h 318"/>
                <a:gd name="T38" fmla="*/ 174 w 216"/>
                <a:gd name="T39" fmla="*/ 78 h 318"/>
                <a:gd name="T40" fmla="*/ 174 w 216"/>
                <a:gd name="T41" fmla="*/ 90 h 318"/>
                <a:gd name="T42" fmla="*/ 186 w 216"/>
                <a:gd name="T43" fmla="*/ 90 h 318"/>
                <a:gd name="T44" fmla="*/ 180 w 216"/>
                <a:gd name="T45" fmla="*/ 108 h 318"/>
                <a:gd name="T46" fmla="*/ 180 w 216"/>
                <a:gd name="T47" fmla="*/ 126 h 318"/>
                <a:gd name="T48" fmla="*/ 192 w 216"/>
                <a:gd name="T49" fmla="*/ 138 h 318"/>
                <a:gd name="T50" fmla="*/ 192 w 216"/>
                <a:gd name="T51" fmla="*/ 150 h 318"/>
                <a:gd name="T52" fmla="*/ 192 w 216"/>
                <a:gd name="T53" fmla="*/ 174 h 318"/>
                <a:gd name="T54" fmla="*/ 192 w 216"/>
                <a:gd name="T55" fmla="*/ 186 h 318"/>
                <a:gd name="T56" fmla="*/ 186 w 216"/>
                <a:gd name="T57" fmla="*/ 210 h 318"/>
                <a:gd name="T58" fmla="*/ 192 w 216"/>
                <a:gd name="T59" fmla="*/ 228 h 318"/>
                <a:gd name="T60" fmla="*/ 204 w 216"/>
                <a:gd name="T61" fmla="*/ 240 h 318"/>
                <a:gd name="T62" fmla="*/ 216 w 216"/>
                <a:gd name="T63" fmla="*/ 252 h 318"/>
                <a:gd name="T64" fmla="*/ 204 w 216"/>
                <a:gd name="T65" fmla="*/ 270 h 318"/>
                <a:gd name="T66" fmla="*/ 168 w 216"/>
                <a:gd name="T67" fmla="*/ 270 h 318"/>
                <a:gd name="T68" fmla="*/ 156 w 216"/>
                <a:gd name="T69" fmla="*/ 282 h 318"/>
                <a:gd name="T70" fmla="*/ 138 w 216"/>
                <a:gd name="T71" fmla="*/ 288 h 318"/>
                <a:gd name="T72" fmla="*/ 120 w 216"/>
                <a:gd name="T73" fmla="*/ 294 h 318"/>
                <a:gd name="T74" fmla="*/ 108 w 216"/>
                <a:gd name="T75" fmla="*/ 294 h 318"/>
                <a:gd name="T76" fmla="*/ 90 w 216"/>
                <a:gd name="T77" fmla="*/ 306 h 318"/>
                <a:gd name="T78" fmla="*/ 72 w 216"/>
                <a:gd name="T79" fmla="*/ 312 h 318"/>
                <a:gd name="T80" fmla="*/ 54 w 216"/>
                <a:gd name="T81" fmla="*/ 318 h 318"/>
                <a:gd name="T82" fmla="*/ 36 w 216"/>
                <a:gd name="T83" fmla="*/ 306 h 318"/>
                <a:gd name="T84" fmla="*/ 6 w 216"/>
                <a:gd name="T85" fmla="*/ 300 h 318"/>
                <a:gd name="T86" fmla="*/ 18 w 216"/>
                <a:gd name="T87" fmla="*/ 300 h 318"/>
                <a:gd name="T88" fmla="*/ 24 w 216"/>
                <a:gd name="T89" fmla="*/ 282 h 318"/>
                <a:gd name="T90" fmla="*/ 12 w 216"/>
                <a:gd name="T91" fmla="*/ 270 h 318"/>
                <a:gd name="T92" fmla="*/ 6 w 216"/>
                <a:gd name="T93" fmla="*/ 246 h 318"/>
                <a:gd name="T94" fmla="*/ 0 w 216"/>
                <a:gd name="T95" fmla="*/ 222 h 318"/>
                <a:gd name="T96" fmla="*/ 12 w 216"/>
                <a:gd name="T97" fmla="*/ 204 h 318"/>
                <a:gd name="T98" fmla="*/ 12 w 216"/>
                <a:gd name="T99" fmla="*/ 180 h 318"/>
                <a:gd name="T100" fmla="*/ 24 w 216"/>
                <a:gd name="T101" fmla="*/ 156 h 318"/>
                <a:gd name="T102" fmla="*/ 36 w 216"/>
                <a:gd name="T103" fmla="*/ 144 h 318"/>
                <a:gd name="T104" fmla="*/ 30 w 216"/>
                <a:gd name="T105" fmla="*/ 114 h 318"/>
                <a:gd name="T106" fmla="*/ 24 w 216"/>
                <a:gd name="T107" fmla="*/ 96 h 318"/>
                <a:gd name="T108" fmla="*/ 24 w 216"/>
                <a:gd name="T109" fmla="*/ 84 h 3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6"/>
                <a:gd name="T166" fmla="*/ 0 h 318"/>
                <a:gd name="T167" fmla="*/ 216 w 216"/>
                <a:gd name="T168" fmla="*/ 318 h 3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6" h="318">
                  <a:moveTo>
                    <a:pt x="24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42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74" y="78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14"/>
                  </a:lnTo>
                  <a:lnTo>
                    <a:pt x="186" y="120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0" y="246"/>
                  </a:lnTo>
                  <a:lnTo>
                    <a:pt x="216" y="246"/>
                  </a:lnTo>
                  <a:lnTo>
                    <a:pt x="216" y="252"/>
                  </a:lnTo>
                  <a:lnTo>
                    <a:pt x="216" y="258"/>
                  </a:lnTo>
                  <a:lnTo>
                    <a:pt x="210" y="264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8" y="288"/>
                  </a:lnTo>
                  <a:lnTo>
                    <a:pt x="132" y="288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20" y="294"/>
                  </a:lnTo>
                  <a:lnTo>
                    <a:pt x="114" y="294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8" y="300"/>
                  </a:lnTo>
                  <a:lnTo>
                    <a:pt x="102" y="300"/>
                  </a:lnTo>
                  <a:lnTo>
                    <a:pt x="96" y="300"/>
                  </a:lnTo>
                  <a:lnTo>
                    <a:pt x="90" y="306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8" y="312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36" y="306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12" y="306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0" y="222"/>
                  </a:lnTo>
                  <a:lnTo>
                    <a:pt x="0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18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93" y="1912"/>
              <a:ext cx="260" cy="265"/>
            </a:xfrm>
            <a:custGeom>
              <a:avLst/>
              <a:gdLst>
                <a:gd name="T0" fmla="*/ 30 w 306"/>
                <a:gd name="T1" fmla="*/ 150 h 312"/>
                <a:gd name="T2" fmla="*/ 30 w 306"/>
                <a:gd name="T3" fmla="*/ 132 h 312"/>
                <a:gd name="T4" fmla="*/ 24 w 306"/>
                <a:gd name="T5" fmla="*/ 120 h 312"/>
                <a:gd name="T6" fmla="*/ 18 w 306"/>
                <a:gd name="T7" fmla="*/ 114 h 312"/>
                <a:gd name="T8" fmla="*/ 36 w 306"/>
                <a:gd name="T9" fmla="*/ 108 h 312"/>
                <a:gd name="T10" fmla="*/ 42 w 306"/>
                <a:gd name="T11" fmla="*/ 108 h 312"/>
                <a:gd name="T12" fmla="*/ 42 w 306"/>
                <a:gd name="T13" fmla="*/ 96 h 312"/>
                <a:gd name="T14" fmla="*/ 42 w 306"/>
                <a:gd name="T15" fmla="*/ 78 h 312"/>
                <a:gd name="T16" fmla="*/ 36 w 306"/>
                <a:gd name="T17" fmla="*/ 66 h 312"/>
                <a:gd name="T18" fmla="*/ 30 w 306"/>
                <a:gd name="T19" fmla="*/ 66 h 312"/>
                <a:gd name="T20" fmla="*/ 24 w 306"/>
                <a:gd name="T21" fmla="*/ 42 h 312"/>
                <a:gd name="T22" fmla="*/ 30 w 306"/>
                <a:gd name="T23" fmla="*/ 42 h 312"/>
                <a:gd name="T24" fmla="*/ 30 w 306"/>
                <a:gd name="T25" fmla="*/ 30 h 312"/>
                <a:gd name="T26" fmla="*/ 48 w 306"/>
                <a:gd name="T27" fmla="*/ 12 h 312"/>
                <a:gd name="T28" fmla="*/ 66 w 306"/>
                <a:gd name="T29" fmla="*/ 24 h 312"/>
                <a:gd name="T30" fmla="*/ 84 w 306"/>
                <a:gd name="T31" fmla="*/ 24 h 312"/>
                <a:gd name="T32" fmla="*/ 96 w 306"/>
                <a:gd name="T33" fmla="*/ 12 h 312"/>
                <a:gd name="T34" fmla="*/ 108 w 306"/>
                <a:gd name="T35" fmla="*/ 6 h 312"/>
                <a:gd name="T36" fmla="*/ 120 w 306"/>
                <a:gd name="T37" fmla="*/ 0 h 312"/>
                <a:gd name="T38" fmla="*/ 126 w 306"/>
                <a:gd name="T39" fmla="*/ 12 h 312"/>
                <a:gd name="T40" fmla="*/ 126 w 306"/>
                <a:gd name="T41" fmla="*/ 18 h 312"/>
                <a:gd name="T42" fmla="*/ 132 w 306"/>
                <a:gd name="T43" fmla="*/ 18 h 312"/>
                <a:gd name="T44" fmla="*/ 156 w 306"/>
                <a:gd name="T45" fmla="*/ 12 h 312"/>
                <a:gd name="T46" fmla="*/ 174 w 306"/>
                <a:gd name="T47" fmla="*/ 24 h 312"/>
                <a:gd name="T48" fmla="*/ 180 w 306"/>
                <a:gd name="T49" fmla="*/ 36 h 312"/>
                <a:gd name="T50" fmla="*/ 186 w 306"/>
                <a:gd name="T51" fmla="*/ 42 h 312"/>
                <a:gd name="T52" fmla="*/ 204 w 306"/>
                <a:gd name="T53" fmla="*/ 54 h 312"/>
                <a:gd name="T54" fmla="*/ 222 w 306"/>
                <a:gd name="T55" fmla="*/ 42 h 312"/>
                <a:gd name="T56" fmla="*/ 246 w 306"/>
                <a:gd name="T57" fmla="*/ 36 h 312"/>
                <a:gd name="T58" fmla="*/ 270 w 306"/>
                <a:gd name="T59" fmla="*/ 42 h 312"/>
                <a:gd name="T60" fmla="*/ 282 w 306"/>
                <a:gd name="T61" fmla="*/ 48 h 312"/>
                <a:gd name="T62" fmla="*/ 294 w 306"/>
                <a:gd name="T63" fmla="*/ 60 h 312"/>
                <a:gd name="T64" fmla="*/ 294 w 306"/>
                <a:gd name="T65" fmla="*/ 78 h 312"/>
                <a:gd name="T66" fmla="*/ 306 w 306"/>
                <a:gd name="T67" fmla="*/ 108 h 312"/>
                <a:gd name="T68" fmla="*/ 300 w 306"/>
                <a:gd name="T69" fmla="*/ 132 h 312"/>
                <a:gd name="T70" fmla="*/ 282 w 306"/>
                <a:gd name="T71" fmla="*/ 156 h 312"/>
                <a:gd name="T72" fmla="*/ 276 w 306"/>
                <a:gd name="T73" fmla="*/ 180 h 312"/>
                <a:gd name="T74" fmla="*/ 270 w 306"/>
                <a:gd name="T75" fmla="*/ 216 h 312"/>
                <a:gd name="T76" fmla="*/ 282 w 306"/>
                <a:gd name="T77" fmla="*/ 240 h 312"/>
                <a:gd name="T78" fmla="*/ 294 w 306"/>
                <a:gd name="T79" fmla="*/ 258 h 312"/>
                <a:gd name="T80" fmla="*/ 282 w 306"/>
                <a:gd name="T81" fmla="*/ 276 h 312"/>
                <a:gd name="T82" fmla="*/ 264 w 306"/>
                <a:gd name="T83" fmla="*/ 276 h 312"/>
                <a:gd name="T84" fmla="*/ 216 w 306"/>
                <a:gd name="T85" fmla="*/ 270 h 312"/>
                <a:gd name="T86" fmla="*/ 156 w 306"/>
                <a:gd name="T87" fmla="*/ 276 h 312"/>
                <a:gd name="T88" fmla="*/ 126 w 306"/>
                <a:gd name="T89" fmla="*/ 282 h 312"/>
                <a:gd name="T90" fmla="*/ 114 w 306"/>
                <a:gd name="T91" fmla="*/ 288 h 312"/>
                <a:gd name="T92" fmla="*/ 84 w 306"/>
                <a:gd name="T93" fmla="*/ 300 h 312"/>
                <a:gd name="T94" fmla="*/ 66 w 306"/>
                <a:gd name="T95" fmla="*/ 312 h 312"/>
                <a:gd name="T96" fmla="*/ 54 w 306"/>
                <a:gd name="T97" fmla="*/ 294 h 312"/>
                <a:gd name="T98" fmla="*/ 60 w 306"/>
                <a:gd name="T99" fmla="*/ 270 h 312"/>
                <a:gd name="T100" fmla="*/ 66 w 306"/>
                <a:gd name="T101" fmla="*/ 258 h 312"/>
                <a:gd name="T102" fmla="*/ 60 w 306"/>
                <a:gd name="T103" fmla="*/ 246 h 312"/>
                <a:gd name="T104" fmla="*/ 48 w 306"/>
                <a:gd name="T105" fmla="*/ 240 h 312"/>
                <a:gd name="T106" fmla="*/ 36 w 306"/>
                <a:gd name="T107" fmla="*/ 222 h 312"/>
                <a:gd name="T108" fmla="*/ 36 w 306"/>
                <a:gd name="T109" fmla="*/ 216 h 312"/>
                <a:gd name="T110" fmla="*/ 12 w 306"/>
                <a:gd name="T111" fmla="*/ 216 h 312"/>
                <a:gd name="T112" fmla="*/ 6 w 306"/>
                <a:gd name="T113" fmla="*/ 204 h 312"/>
                <a:gd name="T114" fmla="*/ 18 w 306"/>
                <a:gd name="T115" fmla="*/ 186 h 312"/>
                <a:gd name="T116" fmla="*/ 12 w 306"/>
                <a:gd name="T117" fmla="*/ 162 h 3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06"/>
                <a:gd name="T178" fmla="*/ 0 h 312"/>
                <a:gd name="T179" fmla="*/ 306 w 306"/>
                <a:gd name="T180" fmla="*/ 312 h 3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06" h="312">
                  <a:moveTo>
                    <a:pt x="12" y="156"/>
                  </a:moveTo>
                  <a:lnTo>
                    <a:pt x="18" y="156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6" y="42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94" y="72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78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0" y="96"/>
                  </a:lnTo>
                  <a:lnTo>
                    <a:pt x="306" y="108"/>
                  </a:lnTo>
                  <a:lnTo>
                    <a:pt x="306" y="114"/>
                  </a:lnTo>
                  <a:lnTo>
                    <a:pt x="306" y="120"/>
                  </a:lnTo>
                  <a:lnTo>
                    <a:pt x="306" y="126"/>
                  </a:lnTo>
                  <a:lnTo>
                    <a:pt x="300" y="126"/>
                  </a:lnTo>
                  <a:lnTo>
                    <a:pt x="300" y="132"/>
                  </a:lnTo>
                  <a:lnTo>
                    <a:pt x="294" y="132"/>
                  </a:lnTo>
                  <a:lnTo>
                    <a:pt x="294" y="138"/>
                  </a:lnTo>
                  <a:lnTo>
                    <a:pt x="288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2" y="174"/>
                  </a:lnTo>
                  <a:lnTo>
                    <a:pt x="282" y="180"/>
                  </a:lnTo>
                  <a:lnTo>
                    <a:pt x="276" y="180"/>
                  </a:lnTo>
                  <a:lnTo>
                    <a:pt x="276" y="186"/>
                  </a:lnTo>
                  <a:lnTo>
                    <a:pt x="270" y="192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76" y="228"/>
                  </a:lnTo>
                  <a:lnTo>
                    <a:pt x="276" y="234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294" y="258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94" y="276"/>
                  </a:lnTo>
                  <a:lnTo>
                    <a:pt x="288" y="276"/>
                  </a:lnTo>
                  <a:lnTo>
                    <a:pt x="282" y="276"/>
                  </a:lnTo>
                  <a:lnTo>
                    <a:pt x="282" y="282"/>
                  </a:lnTo>
                  <a:lnTo>
                    <a:pt x="282" y="276"/>
                  </a:lnTo>
                  <a:lnTo>
                    <a:pt x="276" y="276"/>
                  </a:lnTo>
                  <a:lnTo>
                    <a:pt x="270" y="276"/>
                  </a:lnTo>
                  <a:lnTo>
                    <a:pt x="264" y="276"/>
                  </a:lnTo>
                  <a:lnTo>
                    <a:pt x="240" y="276"/>
                  </a:lnTo>
                  <a:lnTo>
                    <a:pt x="234" y="270"/>
                  </a:lnTo>
                  <a:lnTo>
                    <a:pt x="228" y="270"/>
                  </a:lnTo>
                  <a:lnTo>
                    <a:pt x="222" y="270"/>
                  </a:lnTo>
                  <a:lnTo>
                    <a:pt x="216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0" y="276"/>
                  </a:lnTo>
                  <a:lnTo>
                    <a:pt x="168" y="276"/>
                  </a:lnTo>
                  <a:lnTo>
                    <a:pt x="156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14" y="288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54" y="282"/>
                  </a:lnTo>
                  <a:lnTo>
                    <a:pt x="54" y="276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0" y="216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56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19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576" y="2004"/>
              <a:ext cx="173" cy="178"/>
            </a:xfrm>
            <a:custGeom>
              <a:avLst/>
              <a:gdLst>
                <a:gd name="T0" fmla="*/ 6 w 204"/>
                <a:gd name="T1" fmla="*/ 66 h 210"/>
                <a:gd name="T2" fmla="*/ 18 w 204"/>
                <a:gd name="T3" fmla="*/ 54 h 210"/>
                <a:gd name="T4" fmla="*/ 30 w 204"/>
                <a:gd name="T5" fmla="*/ 48 h 210"/>
                <a:gd name="T6" fmla="*/ 36 w 204"/>
                <a:gd name="T7" fmla="*/ 36 h 210"/>
                <a:gd name="T8" fmla="*/ 48 w 204"/>
                <a:gd name="T9" fmla="*/ 18 h 210"/>
                <a:gd name="T10" fmla="*/ 54 w 204"/>
                <a:gd name="T11" fmla="*/ 6 h 210"/>
                <a:gd name="T12" fmla="*/ 66 w 204"/>
                <a:gd name="T13" fmla="*/ 0 h 210"/>
                <a:gd name="T14" fmla="*/ 72 w 204"/>
                <a:gd name="T15" fmla="*/ 0 h 210"/>
                <a:gd name="T16" fmla="*/ 78 w 204"/>
                <a:gd name="T17" fmla="*/ 0 h 210"/>
                <a:gd name="T18" fmla="*/ 84 w 204"/>
                <a:gd name="T19" fmla="*/ 0 h 210"/>
                <a:gd name="T20" fmla="*/ 96 w 204"/>
                <a:gd name="T21" fmla="*/ 6 h 210"/>
                <a:gd name="T22" fmla="*/ 96 w 204"/>
                <a:gd name="T23" fmla="*/ 24 h 210"/>
                <a:gd name="T24" fmla="*/ 102 w 204"/>
                <a:gd name="T25" fmla="*/ 36 h 210"/>
                <a:gd name="T26" fmla="*/ 102 w 204"/>
                <a:gd name="T27" fmla="*/ 54 h 210"/>
                <a:gd name="T28" fmla="*/ 96 w 204"/>
                <a:gd name="T29" fmla="*/ 54 h 210"/>
                <a:gd name="T30" fmla="*/ 108 w 204"/>
                <a:gd name="T31" fmla="*/ 60 h 210"/>
                <a:gd name="T32" fmla="*/ 120 w 204"/>
                <a:gd name="T33" fmla="*/ 66 h 210"/>
                <a:gd name="T34" fmla="*/ 132 w 204"/>
                <a:gd name="T35" fmla="*/ 60 h 210"/>
                <a:gd name="T36" fmla="*/ 126 w 204"/>
                <a:gd name="T37" fmla="*/ 60 h 210"/>
                <a:gd name="T38" fmla="*/ 132 w 204"/>
                <a:gd name="T39" fmla="*/ 48 h 210"/>
                <a:gd name="T40" fmla="*/ 144 w 204"/>
                <a:gd name="T41" fmla="*/ 48 h 210"/>
                <a:gd name="T42" fmla="*/ 150 w 204"/>
                <a:gd name="T43" fmla="*/ 60 h 210"/>
                <a:gd name="T44" fmla="*/ 156 w 204"/>
                <a:gd name="T45" fmla="*/ 72 h 210"/>
                <a:gd name="T46" fmla="*/ 156 w 204"/>
                <a:gd name="T47" fmla="*/ 90 h 210"/>
                <a:gd name="T48" fmla="*/ 144 w 204"/>
                <a:gd name="T49" fmla="*/ 96 h 210"/>
                <a:gd name="T50" fmla="*/ 144 w 204"/>
                <a:gd name="T51" fmla="*/ 102 h 210"/>
                <a:gd name="T52" fmla="*/ 156 w 204"/>
                <a:gd name="T53" fmla="*/ 108 h 210"/>
                <a:gd name="T54" fmla="*/ 168 w 204"/>
                <a:gd name="T55" fmla="*/ 108 h 210"/>
                <a:gd name="T56" fmla="*/ 174 w 204"/>
                <a:gd name="T57" fmla="*/ 108 h 210"/>
                <a:gd name="T58" fmla="*/ 174 w 204"/>
                <a:gd name="T59" fmla="*/ 114 h 210"/>
                <a:gd name="T60" fmla="*/ 180 w 204"/>
                <a:gd name="T61" fmla="*/ 126 h 210"/>
                <a:gd name="T62" fmla="*/ 186 w 204"/>
                <a:gd name="T63" fmla="*/ 126 h 210"/>
                <a:gd name="T64" fmla="*/ 198 w 204"/>
                <a:gd name="T65" fmla="*/ 132 h 210"/>
                <a:gd name="T66" fmla="*/ 204 w 204"/>
                <a:gd name="T67" fmla="*/ 144 h 210"/>
                <a:gd name="T68" fmla="*/ 204 w 204"/>
                <a:gd name="T69" fmla="*/ 150 h 210"/>
                <a:gd name="T70" fmla="*/ 204 w 204"/>
                <a:gd name="T71" fmla="*/ 156 h 210"/>
                <a:gd name="T72" fmla="*/ 198 w 204"/>
                <a:gd name="T73" fmla="*/ 168 h 210"/>
                <a:gd name="T74" fmla="*/ 192 w 204"/>
                <a:gd name="T75" fmla="*/ 180 h 210"/>
                <a:gd name="T76" fmla="*/ 192 w 204"/>
                <a:gd name="T77" fmla="*/ 198 h 210"/>
                <a:gd name="T78" fmla="*/ 186 w 204"/>
                <a:gd name="T79" fmla="*/ 204 h 210"/>
                <a:gd name="T80" fmla="*/ 162 w 204"/>
                <a:gd name="T81" fmla="*/ 198 h 210"/>
                <a:gd name="T82" fmla="*/ 150 w 204"/>
                <a:gd name="T83" fmla="*/ 192 h 210"/>
                <a:gd name="T84" fmla="*/ 138 w 204"/>
                <a:gd name="T85" fmla="*/ 186 h 210"/>
                <a:gd name="T86" fmla="*/ 126 w 204"/>
                <a:gd name="T87" fmla="*/ 180 h 210"/>
                <a:gd name="T88" fmla="*/ 114 w 204"/>
                <a:gd name="T89" fmla="*/ 174 h 210"/>
                <a:gd name="T90" fmla="*/ 102 w 204"/>
                <a:gd name="T91" fmla="*/ 162 h 210"/>
                <a:gd name="T92" fmla="*/ 96 w 204"/>
                <a:gd name="T93" fmla="*/ 162 h 210"/>
                <a:gd name="T94" fmla="*/ 90 w 204"/>
                <a:gd name="T95" fmla="*/ 150 h 210"/>
                <a:gd name="T96" fmla="*/ 96 w 204"/>
                <a:gd name="T97" fmla="*/ 156 h 210"/>
                <a:gd name="T98" fmla="*/ 96 w 204"/>
                <a:gd name="T99" fmla="*/ 150 h 210"/>
                <a:gd name="T100" fmla="*/ 78 w 204"/>
                <a:gd name="T101" fmla="*/ 144 h 210"/>
                <a:gd name="T102" fmla="*/ 72 w 204"/>
                <a:gd name="T103" fmla="*/ 132 h 210"/>
                <a:gd name="T104" fmla="*/ 72 w 204"/>
                <a:gd name="T105" fmla="*/ 126 h 210"/>
                <a:gd name="T106" fmla="*/ 66 w 204"/>
                <a:gd name="T107" fmla="*/ 126 h 210"/>
                <a:gd name="T108" fmla="*/ 60 w 204"/>
                <a:gd name="T109" fmla="*/ 126 h 210"/>
                <a:gd name="T110" fmla="*/ 48 w 204"/>
                <a:gd name="T111" fmla="*/ 114 h 210"/>
                <a:gd name="T112" fmla="*/ 30 w 204"/>
                <a:gd name="T113" fmla="*/ 108 h 210"/>
                <a:gd name="T114" fmla="*/ 36 w 204"/>
                <a:gd name="T115" fmla="*/ 108 h 210"/>
                <a:gd name="T116" fmla="*/ 24 w 204"/>
                <a:gd name="T117" fmla="*/ 102 h 210"/>
                <a:gd name="T118" fmla="*/ 6 w 204"/>
                <a:gd name="T119" fmla="*/ 90 h 210"/>
                <a:gd name="T120" fmla="*/ 0 w 204"/>
                <a:gd name="T121" fmla="*/ 84 h 210"/>
                <a:gd name="T122" fmla="*/ 0 w 204"/>
                <a:gd name="T123" fmla="*/ 78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4"/>
                <a:gd name="T187" fmla="*/ 0 h 210"/>
                <a:gd name="T188" fmla="*/ 204 w 204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4" h="210">
                  <a:moveTo>
                    <a:pt x="0" y="78"/>
                  </a:moveTo>
                  <a:lnTo>
                    <a:pt x="6" y="7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54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2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74" y="198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0" y="192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6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2050" y="1892"/>
              <a:ext cx="87" cy="214"/>
            </a:xfrm>
            <a:custGeom>
              <a:avLst/>
              <a:gdLst>
                <a:gd name="T0" fmla="*/ 36 w 102"/>
                <a:gd name="T1" fmla="*/ 6 h 252"/>
                <a:gd name="T2" fmla="*/ 42 w 102"/>
                <a:gd name="T3" fmla="*/ 12 h 252"/>
                <a:gd name="T4" fmla="*/ 54 w 102"/>
                <a:gd name="T5" fmla="*/ 18 h 252"/>
                <a:gd name="T6" fmla="*/ 48 w 102"/>
                <a:gd name="T7" fmla="*/ 30 h 252"/>
                <a:gd name="T8" fmla="*/ 48 w 102"/>
                <a:gd name="T9" fmla="*/ 42 h 252"/>
                <a:gd name="T10" fmla="*/ 66 w 102"/>
                <a:gd name="T11" fmla="*/ 54 h 252"/>
                <a:gd name="T12" fmla="*/ 78 w 102"/>
                <a:gd name="T13" fmla="*/ 72 h 252"/>
                <a:gd name="T14" fmla="*/ 78 w 102"/>
                <a:gd name="T15" fmla="*/ 84 h 252"/>
                <a:gd name="T16" fmla="*/ 84 w 102"/>
                <a:gd name="T17" fmla="*/ 96 h 252"/>
                <a:gd name="T18" fmla="*/ 90 w 102"/>
                <a:gd name="T19" fmla="*/ 108 h 252"/>
                <a:gd name="T20" fmla="*/ 90 w 102"/>
                <a:gd name="T21" fmla="*/ 120 h 252"/>
                <a:gd name="T22" fmla="*/ 90 w 102"/>
                <a:gd name="T23" fmla="*/ 132 h 252"/>
                <a:gd name="T24" fmla="*/ 90 w 102"/>
                <a:gd name="T25" fmla="*/ 144 h 252"/>
                <a:gd name="T26" fmla="*/ 90 w 102"/>
                <a:gd name="T27" fmla="*/ 168 h 252"/>
                <a:gd name="T28" fmla="*/ 90 w 102"/>
                <a:gd name="T29" fmla="*/ 180 h 252"/>
                <a:gd name="T30" fmla="*/ 96 w 102"/>
                <a:gd name="T31" fmla="*/ 186 h 252"/>
                <a:gd name="T32" fmla="*/ 90 w 102"/>
                <a:gd name="T33" fmla="*/ 192 h 252"/>
                <a:gd name="T34" fmla="*/ 90 w 102"/>
                <a:gd name="T35" fmla="*/ 216 h 252"/>
                <a:gd name="T36" fmla="*/ 90 w 102"/>
                <a:gd name="T37" fmla="*/ 228 h 252"/>
                <a:gd name="T38" fmla="*/ 96 w 102"/>
                <a:gd name="T39" fmla="*/ 234 h 252"/>
                <a:gd name="T40" fmla="*/ 102 w 102"/>
                <a:gd name="T41" fmla="*/ 240 h 252"/>
                <a:gd name="T42" fmla="*/ 102 w 102"/>
                <a:gd name="T43" fmla="*/ 246 h 252"/>
                <a:gd name="T44" fmla="*/ 90 w 102"/>
                <a:gd name="T45" fmla="*/ 246 h 252"/>
                <a:gd name="T46" fmla="*/ 78 w 102"/>
                <a:gd name="T47" fmla="*/ 252 h 252"/>
                <a:gd name="T48" fmla="*/ 66 w 102"/>
                <a:gd name="T49" fmla="*/ 252 h 252"/>
                <a:gd name="T50" fmla="*/ 60 w 102"/>
                <a:gd name="T51" fmla="*/ 246 h 252"/>
                <a:gd name="T52" fmla="*/ 54 w 102"/>
                <a:gd name="T53" fmla="*/ 240 h 252"/>
                <a:gd name="T54" fmla="*/ 48 w 102"/>
                <a:gd name="T55" fmla="*/ 234 h 252"/>
                <a:gd name="T56" fmla="*/ 42 w 102"/>
                <a:gd name="T57" fmla="*/ 228 h 252"/>
                <a:gd name="T58" fmla="*/ 36 w 102"/>
                <a:gd name="T59" fmla="*/ 222 h 252"/>
                <a:gd name="T60" fmla="*/ 36 w 102"/>
                <a:gd name="T61" fmla="*/ 210 h 252"/>
                <a:gd name="T62" fmla="*/ 42 w 102"/>
                <a:gd name="T63" fmla="*/ 198 h 252"/>
                <a:gd name="T64" fmla="*/ 42 w 102"/>
                <a:gd name="T65" fmla="*/ 186 h 252"/>
                <a:gd name="T66" fmla="*/ 36 w 102"/>
                <a:gd name="T67" fmla="*/ 180 h 252"/>
                <a:gd name="T68" fmla="*/ 42 w 102"/>
                <a:gd name="T69" fmla="*/ 174 h 252"/>
                <a:gd name="T70" fmla="*/ 42 w 102"/>
                <a:gd name="T71" fmla="*/ 162 h 252"/>
                <a:gd name="T72" fmla="*/ 42 w 102"/>
                <a:gd name="T73" fmla="*/ 150 h 252"/>
                <a:gd name="T74" fmla="*/ 48 w 102"/>
                <a:gd name="T75" fmla="*/ 144 h 252"/>
                <a:gd name="T76" fmla="*/ 42 w 102"/>
                <a:gd name="T77" fmla="*/ 138 h 252"/>
                <a:gd name="T78" fmla="*/ 36 w 102"/>
                <a:gd name="T79" fmla="*/ 132 h 252"/>
                <a:gd name="T80" fmla="*/ 30 w 102"/>
                <a:gd name="T81" fmla="*/ 126 h 252"/>
                <a:gd name="T82" fmla="*/ 36 w 102"/>
                <a:gd name="T83" fmla="*/ 120 h 252"/>
                <a:gd name="T84" fmla="*/ 30 w 102"/>
                <a:gd name="T85" fmla="*/ 108 h 252"/>
                <a:gd name="T86" fmla="*/ 36 w 102"/>
                <a:gd name="T87" fmla="*/ 102 h 252"/>
                <a:gd name="T88" fmla="*/ 36 w 102"/>
                <a:gd name="T89" fmla="*/ 90 h 252"/>
                <a:gd name="T90" fmla="*/ 30 w 102"/>
                <a:gd name="T91" fmla="*/ 84 h 252"/>
                <a:gd name="T92" fmla="*/ 24 w 102"/>
                <a:gd name="T93" fmla="*/ 90 h 252"/>
                <a:gd name="T94" fmla="*/ 18 w 102"/>
                <a:gd name="T95" fmla="*/ 84 h 252"/>
                <a:gd name="T96" fmla="*/ 24 w 102"/>
                <a:gd name="T97" fmla="*/ 78 h 252"/>
                <a:gd name="T98" fmla="*/ 30 w 102"/>
                <a:gd name="T99" fmla="*/ 72 h 252"/>
                <a:gd name="T100" fmla="*/ 30 w 102"/>
                <a:gd name="T101" fmla="*/ 66 h 252"/>
                <a:gd name="T102" fmla="*/ 30 w 102"/>
                <a:gd name="T103" fmla="*/ 66 h 252"/>
                <a:gd name="T104" fmla="*/ 30 w 102"/>
                <a:gd name="T105" fmla="*/ 54 h 252"/>
                <a:gd name="T106" fmla="*/ 30 w 102"/>
                <a:gd name="T107" fmla="*/ 42 h 252"/>
                <a:gd name="T108" fmla="*/ 24 w 102"/>
                <a:gd name="T109" fmla="*/ 36 h 252"/>
                <a:gd name="T110" fmla="*/ 18 w 102"/>
                <a:gd name="T111" fmla="*/ 30 h 252"/>
                <a:gd name="T112" fmla="*/ 6 w 102"/>
                <a:gd name="T113" fmla="*/ 30 h 252"/>
                <a:gd name="T114" fmla="*/ 6 w 102"/>
                <a:gd name="T115" fmla="*/ 18 h 252"/>
                <a:gd name="T116" fmla="*/ 12 w 102"/>
                <a:gd name="T117" fmla="*/ 6 h 252"/>
                <a:gd name="T118" fmla="*/ 0 w 102"/>
                <a:gd name="T119" fmla="*/ 6 h 2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2"/>
                <a:gd name="T181" fmla="*/ 0 h 252"/>
                <a:gd name="T182" fmla="*/ 102 w 102"/>
                <a:gd name="T183" fmla="*/ 252 h 2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2" h="252">
                  <a:moveTo>
                    <a:pt x="0" y="0"/>
                  </a:move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90" y="156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0" y="246"/>
                  </a:lnTo>
                  <a:lnTo>
                    <a:pt x="84" y="246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91" y="1841"/>
              <a:ext cx="132" cy="260"/>
            </a:xfrm>
            <a:custGeom>
              <a:avLst/>
              <a:gdLst>
                <a:gd name="T0" fmla="*/ 12 w 156"/>
                <a:gd name="T1" fmla="*/ 66 h 306"/>
                <a:gd name="T2" fmla="*/ 12 w 156"/>
                <a:gd name="T3" fmla="*/ 66 h 306"/>
                <a:gd name="T4" fmla="*/ 18 w 156"/>
                <a:gd name="T5" fmla="*/ 54 h 306"/>
                <a:gd name="T6" fmla="*/ 30 w 156"/>
                <a:gd name="T7" fmla="*/ 48 h 306"/>
                <a:gd name="T8" fmla="*/ 48 w 156"/>
                <a:gd name="T9" fmla="*/ 48 h 306"/>
                <a:gd name="T10" fmla="*/ 72 w 156"/>
                <a:gd name="T11" fmla="*/ 42 h 306"/>
                <a:gd name="T12" fmla="*/ 78 w 156"/>
                <a:gd name="T13" fmla="*/ 30 h 306"/>
                <a:gd name="T14" fmla="*/ 78 w 156"/>
                <a:gd name="T15" fmla="*/ 24 h 306"/>
                <a:gd name="T16" fmla="*/ 84 w 156"/>
                <a:gd name="T17" fmla="*/ 24 h 306"/>
                <a:gd name="T18" fmla="*/ 78 w 156"/>
                <a:gd name="T19" fmla="*/ 12 h 306"/>
                <a:gd name="T20" fmla="*/ 90 w 156"/>
                <a:gd name="T21" fmla="*/ 6 h 306"/>
                <a:gd name="T22" fmla="*/ 102 w 156"/>
                <a:gd name="T23" fmla="*/ 0 h 306"/>
                <a:gd name="T24" fmla="*/ 114 w 156"/>
                <a:gd name="T25" fmla="*/ 12 h 306"/>
                <a:gd name="T26" fmla="*/ 126 w 156"/>
                <a:gd name="T27" fmla="*/ 18 h 306"/>
                <a:gd name="T28" fmla="*/ 138 w 156"/>
                <a:gd name="T29" fmla="*/ 30 h 306"/>
                <a:gd name="T30" fmla="*/ 138 w 156"/>
                <a:gd name="T31" fmla="*/ 54 h 306"/>
                <a:gd name="T32" fmla="*/ 150 w 156"/>
                <a:gd name="T33" fmla="*/ 66 h 306"/>
                <a:gd name="T34" fmla="*/ 150 w 156"/>
                <a:gd name="T35" fmla="*/ 84 h 306"/>
                <a:gd name="T36" fmla="*/ 150 w 156"/>
                <a:gd name="T37" fmla="*/ 96 h 306"/>
                <a:gd name="T38" fmla="*/ 138 w 156"/>
                <a:gd name="T39" fmla="*/ 102 h 306"/>
                <a:gd name="T40" fmla="*/ 144 w 156"/>
                <a:gd name="T41" fmla="*/ 114 h 306"/>
                <a:gd name="T42" fmla="*/ 138 w 156"/>
                <a:gd name="T43" fmla="*/ 126 h 306"/>
                <a:gd name="T44" fmla="*/ 126 w 156"/>
                <a:gd name="T45" fmla="*/ 132 h 306"/>
                <a:gd name="T46" fmla="*/ 120 w 156"/>
                <a:gd name="T47" fmla="*/ 150 h 306"/>
                <a:gd name="T48" fmla="*/ 114 w 156"/>
                <a:gd name="T49" fmla="*/ 162 h 306"/>
                <a:gd name="T50" fmla="*/ 102 w 156"/>
                <a:gd name="T51" fmla="*/ 168 h 306"/>
                <a:gd name="T52" fmla="*/ 102 w 156"/>
                <a:gd name="T53" fmla="*/ 174 h 306"/>
                <a:gd name="T54" fmla="*/ 102 w 156"/>
                <a:gd name="T55" fmla="*/ 180 h 306"/>
                <a:gd name="T56" fmla="*/ 96 w 156"/>
                <a:gd name="T57" fmla="*/ 192 h 306"/>
                <a:gd name="T58" fmla="*/ 96 w 156"/>
                <a:gd name="T59" fmla="*/ 210 h 306"/>
                <a:gd name="T60" fmla="*/ 96 w 156"/>
                <a:gd name="T61" fmla="*/ 228 h 306"/>
                <a:gd name="T62" fmla="*/ 102 w 156"/>
                <a:gd name="T63" fmla="*/ 246 h 306"/>
                <a:gd name="T64" fmla="*/ 102 w 156"/>
                <a:gd name="T65" fmla="*/ 258 h 306"/>
                <a:gd name="T66" fmla="*/ 102 w 156"/>
                <a:gd name="T67" fmla="*/ 264 h 306"/>
                <a:gd name="T68" fmla="*/ 96 w 156"/>
                <a:gd name="T69" fmla="*/ 276 h 306"/>
                <a:gd name="T70" fmla="*/ 96 w 156"/>
                <a:gd name="T71" fmla="*/ 282 h 306"/>
                <a:gd name="T72" fmla="*/ 96 w 156"/>
                <a:gd name="T73" fmla="*/ 300 h 306"/>
                <a:gd name="T74" fmla="*/ 72 w 156"/>
                <a:gd name="T75" fmla="*/ 300 h 306"/>
                <a:gd name="T76" fmla="*/ 54 w 156"/>
                <a:gd name="T77" fmla="*/ 306 h 306"/>
                <a:gd name="T78" fmla="*/ 48 w 156"/>
                <a:gd name="T79" fmla="*/ 306 h 306"/>
                <a:gd name="T80" fmla="*/ 54 w 156"/>
                <a:gd name="T81" fmla="*/ 300 h 306"/>
                <a:gd name="T82" fmla="*/ 48 w 156"/>
                <a:gd name="T83" fmla="*/ 288 h 306"/>
                <a:gd name="T84" fmla="*/ 42 w 156"/>
                <a:gd name="T85" fmla="*/ 276 h 306"/>
                <a:gd name="T86" fmla="*/ 42 w 156"/>
                <a:gd name="T87" fmla="*/ 246 h 306"/>
                <a:gd name="T88" fmla="*/ 42 w 156"/>
                <a:gd name="T89" fmla="*/ 240 h 306"/>
                <a:gd name="T90" fmla="*/ 42 w 156"/>
                <a:gd name="T91" fmla="*/ 216 h 306"/>
                <a:gd name="T92" fmla="*/ 42 w 156"/>
                <a:gd name="T93" fmla="*/ 192 h 306"/>
                <a:gd name="T94" fmla="*/ 42 w 156"/>
                <a:gd name="T95" fmla="*/ 174 h 306"/>
                <a:gd name="T96" fmla="*/ 36 w 156"/>
                <a:gd name="T97" fmla="*/ 156 h 306"/>
                <a:gd name="T98" fmla="*/ 30 w 156"/>
                <a:gd name="T99" fmla="*/ 138 h 306"/>
                <a:gd name="T100" fmla="*/ 18 w 156"/>
                <a:gd name="T101" fmla="*/ 114 h 306"/>
                <a:gd name="T102" fmla="*/ 0 w 156"/>
                <a:gd name="T103" fmla="*/ 96 h 306"/>
                <a:gd name="T104" fmla="*/ 6 w 156"/>
                <a:gd name="T105" fmla="*/ 78 h 3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6"/>
                <a:gd name="T160" fmla="*/ 0 h 306"/>
                <a:gd name="T161" fmla="*/ 156 w 156"/>
                <a:gd name="T162" fmla="*/ 306 h 30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6" h="306">
                  <a:moveTo>
                    <a:pt x="6" y="72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26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102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6" y="222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6" y="252"/>
                  </a:lnTo>
                  <a:lnTo>
                    <a:pt x="102" y="258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6" y="282"/>
                  </a:lnTo>
                  <a:lnTo>
                    <a:pt x="102" y="282"/>
                  </a:lnTo>
                  <a:lnTo>
                    <a:pt x="96" y="282"/>
                  </a:lnTo>
                  <a:lnTo>
                    <a:pt x="96" y="288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78" y="300"/>
                  </a:lnTo>
                  <a:lnTo>
                    <a:pt x="72" y="300"/>
                  </a:lnTo>
                  <a:lnTo>
                    <a:pt x="66" y="300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54" y="306"/>
                  </a:lnTo>
                  <a:lnTo>
                    <a:pt x="48" y="300"/>
                  </a:lnTo>
                  <a:lnTo>
                    <a:pt x="54" y="300"/>
                  </a:lnTo>
                  <a:lnTo>
                    <a:pt x="48" y="300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16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0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7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626" y="1372"/>
              <a:ext cx="444" cy="678"/>
            </a:xfrm>
            <a:custGeom>
              <a:avLst/>
              <a:gdLst>
                <a:gd name="T0" fmla="*/ 168 w 522"/>
                <a:gd name="T1" fmla="*/ 24 h 798"/>
                <a:gd name="T2" fmla="*/ 378 w 522"/>
                <a:gd name="T3" fmla="*/ 126 h 798"/>
                <a:gd name="T4" fmla="*/ 522 w 522"/>
                <a:gd name="T5" fmla="*/ 198 h 798"/>
                <a:gd name="T6" fmla="*/ 498 w 522"/>
                <a:gd name="T7" fmla="*/ 390 h 798"/>
                <a:gd name="T8" fmla="*/ 480 w 522"/>
                <a:gd name="T9" fmla="*/ 384 h 798"/>
                <a:gd name="T10" fmla="*/ 474 w 522"/>
                <a:gd name="T11" fmla="*/ 402 h 798"/>
                <a:gd name="T12" fmla="*/ 462 w 522"/>
                <a:gd name="T13" fmla="*/ 420 h 798"/>
                <a:gd name="T14" fmla="*/ 450 w 522"/>
                <a:gd name="T15" fmla="*/ 438 h 798"/>
                <a:gd name="T16" fmla="*/ 444 w 522"/>
                <a:gd name="T17" fmla="*/ 456 h 798"/>
                <a:gd name="T18" fmla="*/ 432 w 522"/>
                <a:gd name="T19" fmla="*/ 474 h 798"/>
                <a:gd name="T20" fmla="*/ 438 w 522"/>
                <a:gd name="T21" fmla="*/ 504 h 798"/>
                <a:gd name="T22" fmla="*/ 420 w 522"/>
                <a:gd name="T23" fmla="*/ 522 h 798"/>
                <a:gd name="T24" fmla="*/ 426 w 522"/>
                <a:gd name="T25" fmla="*/ 540 h 798"/>
                <a:gd name="T26" fmla="*/ 444 w 522"/>
                <a:gd name="T27" fmla="*/ 546 h 798"/>
                <a:gd name="T28" fmla="*/ 456 w 522"/>
                <a:gd name="T29" fmla="*/ 570 h 798"/>
                <a:gd name="T30" fmla="*/ 474 w 522"/>
                <a:gd name="T31" fmla="*/ 606 h 798"/>
                <a:gd name="T32" fmla="*/ 450 w 522"/>
                <a:gd name="T33" fmla="*/ 624 h 798"/>
                <a:gd name="T34" fmla="*/ 438 w 522"/>
                <a:gd name="T35" fmla="*/ 624 h 798"/>
                <a:gd name="T36" fmla="*/ 420 w 522"/>
                <a:gd name="T37" fmla="*/ 630 h 798"/>
                <a:gd name="T38" fmla="*/ 408 w 522"/>
                <a:gd name="T39" fmla="*/ 642 h 798"/>
                <a:gd name="T40" fmla="*/ 408 w 522"/>
                <a:gd name="T41" fmla="*/ 654 h 798"/>
                <a:gd name="T42" fmla="*/ 384 w 522"/>
                <a:gd name="T43" fmla="*/ 672 h 798"/>
                <a:gd name="T44" fmla="*/ 372 w 522"/>
                <a:gd name="T45" fmla="*/ 684 h 798"/>
                <a:gd name="T46" fmla="*/ 354 w 522"/>
                <a:gd name="T47" fmla="*/ 702 h 798"/>
                <a:gd name="T48" fmla="*/ 336 w 522"/>
                <a:gd name="T49" fmla="*/ 714 h 798"/>
                <a:gd name="T50" fmla="*/ 312 w 522"/>
                <a:gd name="T51" fmla="*/ 720 h 798"/>
                <a:gd name="T52" fmla="*/ 276 w 522"/>
                <a:gd name="T53" fmla="*/ 720 h 798"/>
                <a:gd name="T54" fmla="*/ 282 w 522"/>
                <a:gd name="T55" fmla="*/ 738 h 798"/>
                <a:gd name="T56" fmla="*/ 264 w 522"/>
                <a:gd name="T57" fmla="*/ 756 h 798"/>
                <a:gd name="T58" fmla="*/ 210 w 522"/>
                <a:gd name="T59" fmla="*/ 774 h 798"/>
                <a:gd name="T60" fmla="*/ 198 w 522"/>
                <a:gd name="T61" fmla="*/ 774 h 798"/>
                <a:gd name="T62" fmla="*/ 174 w 522"/>
                <a:gd name="T63" fmla="*/ 786 h 798"/>
                <a:gd name="T64" fmla="*/ 168 w 522"/>
                <a:gd name="T65" fmla="*/ 792 h 798"/>
                <a:gd name="T66" fmla="*/ 156 w 522"/>
                <a:gd name="T67" fmla="*/ 780 h 798"/>
                <a:gd name="T68" fmla="*/ 138 w 522"/>
                <a:gd name="T69" fmla="*/ 786 h 798"/>
                <a:gd name="T70" fmla="*/ 114 w 522"/>
                <a:gd name="T71" fmla="*/ 798 h 798"/>
                <a:gd name="T72" fmla="*/ 102 w 522"/>
                <a:gd name="T73" fmla="*/ 780 h 798"/>
                <a:gd name="T74" fmla="*/ 90 w 522"/>
                <a:gd name="T75" fmla="*/ 738 h 798"/>
                <a:gd name="T76" fmla="*/ 60 w 522"/>
                <a:gd name="T77" fmla="*/ 726 h 798"/>
                <a:gd name="T78" fmla="*/ 42 w 522"/>
                <a:gd name="T79" fmla="*/ 702 h 798"/>
                <a:gd name="T80" fmla="*/ 36 w 522"/>
                <a:gd name="T81" fmla="*/ 672 h 798"/>
                <a:gd name="T82" fmla="*/ 72 w 522"/>
                <a:gd name="T83" fmla="*/ 672 h 798"/>
                <a:gd name="T84" fmla="*/ 108 w 522"/>
                <a:gd name="T85" fmla="*/ 672 h 798"/>
                <a:gd name="T86" fmla="*/ 90 w 522"/>
                <a:gd name="T87" fmla="*/ 654 h 798"/>
                <a:gd name="T88" fmla="*/ 84 w 522"/>
                <a:gd name="T89" fmla="*/ 624 h 798"/>
                <a:gd name="T90" fmla="*/ 84 w 522"/>
                <a:gd name="T91" fmla="*/ 600 h 798"/>
                <a:gd name="T92" fmla="*/ 78 w 522"/>
                <a:gd name="T93" fmla="*/ 582 h 798"/>
                <a:gd name="T94" fmla="*/ 78 w 522"/>
                <a:gd name="T95" fmla="*/ 582 h 798"/>
                <a:gd name="T96" fmla="*/ 72 w 522"/>
                <a:gd name="T97" fmla="*/ 564 h 798"/>
                <a:gd name="T98" fmla="*/ 66 w 522"/>
                <a:gd name="T99" fmla="*/ 534 h 798"/>
                <a:gd name="T100" fmla="*/ 30 w 522"/>
                <a:gd name="T101" fmla="*/ 516 h 798"/>
                <a:gd name="T102" fmla="*/ 0 w 522"/>
                <a:gd name="T103" fmla="*/ 450 h 798"/>
                <a:gd name="T104" fmla="*/ 18 w 522"/>
                <a:gd name="T105" fmla="*/ 426 h 798"/>
                <a:gd name="T106" fmla="*/ 60 w 522"/>
                <a:gd name="T107" fmla="*/ 372 h 798"/>
                <a:gd name="T108" fmla="*/ 108 w 522"/>
                <a:gd name="T109" fmla="*/ 216 h 798"/>
                <a:gd name="T110" fmla="*/ 126 w 522"/>
                <a:gd name="T111" fmla="*/ 156 h 798"/>
                <a:gd name="T112" fmla="*/ 102 w 522"/>
                <a:gd name="T113" fmla="*/ 126 h 798"/>
                <a:gd name="T114" fmla="*/ 84 w 522"/>
                <a:gd name="T115" fmla="*/ 54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2"/>
                <a:gd name="T175" fmla="*/ 0 h 798"/>
                <a:gd name="T176" fmla="*/ 522 w 522"/>
                <a:gd name="T177" fmla="*/ 798 h 79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417" y="1810"/>
              <a:ext cx="326" cy="484"/>
            </a:xfrm>
            <a:custGeom>
              <a:avLst/>
              <a:gdLst>
                <a:gd name="T0" fmla="*/ 18 w 384"/>
                <a:gd name="T1" fmla="*/ 396 h 570"/>
                <a:gd name="T2" fmla="*/ 24 w 384"/>
                <a:gd name="T3" fmla="*/ 360 h 570"/>
                <a:gd name="T4" fmla="*/ 48 w 384"/>
                <a:gd name="T5" fmla="*/ 336 h 570"/>
                <a:gd name="T6" fmla="*/ 60 w 384"/>
                <a:gd name="T7" fmla="*/ 330 h 570"/>
                <a:gd name="T8" fmla="*/ 72 w 384"/>
                <a:gd name="T9" fmla="*/ 306 h 570"/>
                <a:gd name="T10" fmla="*/ 102 w 384"/>
                <a:gd name="T11" fmla="*/ 300 h 570"/>
                <a:gd name="T12" fmla="*/ 120 w 384"/>
                <a:gd name="T13" fmla="*/ 312 h 570"/>
                <a:gd name="T14" fmla="*/ 138 w 384"/>
                <a:gd name="T15" fmla="*/ 324 h 570"/>
                <a:gd name="T16" fmla="*/ 150 w 384"/>
                <a:gd name="T17" fmla="*/ 312 h 570"/>
                <a:gd name="T18" fmla="*/ 168 w 384"/>
                <a:gd name="T19" fmla="*/ 300 h 570"/>
                <a:gd name="T20" fmla="*/ 174 w 384"/>
                <a:gd name="T21" fmla="*/ 270 h 570"/>
                <a:gd name="T22" fmla="*/ 186 w 384"/>
                <a:gd name="T23" fmla="*/ 240 h 570"/>
                <a:gd name="T24" fmla="*/ 210 w 384"/>
                <a:gd name="T25" fmla="*/ 216 h 570"/>
                <a:gd name="T26" fmla="*/ 216 w 384"/>
                <a:gd name="T27" fmla="*/ 186 h 570"/>
                <a:gd name="T28" fmla="*/ 240 w 384"/>
                <a:gd name="T29" fmla="*/ 168 h 570"/>
                <a:gd name="T30" fmla="*/ 246 w 384"/>
                <a:gd name="T31" fmla="*/ 150 h 570"/>
                <a:gd name="T32" fmla="*/ 252 w 384"/>
                <a:gd name="T33" fmla="*/ 114 h 570"/>
                <a:gd name="T34" fmla="*/ 276 w 384"/>
                <a:gd name="T35" fmla="*/ 90 h 570"/>
                <a:gd name="T36" fmla="*/ 306 w 384"/>
                <a:gd name="T37" fmla="*/ 78 h 570"/>
                <a:gd name="T38" fmla="*/ 306 w 384"/>
                <a:gd name="T39" fmla="*/ 48 h 570"/>
                <a:gd name="T40" fmla="*/ 276 w 384"/>
                <a:gd name="T41" fmla="*/ 0 h 570"/>
                <a:gd name="T42" fmla="*/ 306 w 384"/>
                <a:gd name="T43" fmla="*/ 24 h 570"/>
                <a:gd name="T44" fmla="*/ 324 w 384"/>
                <a:gd name="T45" fmla="*/ 54 h 570"/>
                <a:gd name="T46" fmla="*/ 330 w 384"/>
                <a:gd name="T47" fmla="*/ 66 h 570"/>
                <a:gd name="T48" fmla="*/ 330 w 384"/>
                <a:gd name="T49" fmla="*/ 72 h 570"/>
                <a:gd name="T50" fmla="*/ 324 w 384"/>
                <a:gd name="T51" fmla="*/ 108 h 570"/>
                <a:gd name="T52" fmla="*/ 336 w 384"/>
                <a:gd name="T53" fmla="*/ 138 h 570"/>
                <a:gd name="T54" fmla="*/ 348 w 384"/>
                <a:gd name="T55" fmla="*/ 156 h 570"/>
                <a:gd name="T56" fmla="*/ 306 w 384"/>
                <a:gd name="T57" fmla="*/ 156 h 570"/>
                <a:gd name="T58" fmla="*/ 276 w 384"/>
                <a:gd name="T59" fmla="*/ 168 h 570"/>
                <a:gd name="T60" fmla="*/ 300 w 384"/>
                <a:gd name="T61" fmla="*/ 204 h 570"/>
                <a:gd name="T62" fmla="*/ 330 w 384"/>
                <a:gd name="T63" fmla="*/ 222 h 570"/>
                <a:gd name="T64" fmla="*/ 348 w 384"/>
                <a:gd name="T65" fmla="*/ 264 h 570"/>
                <a:gd name="T66" fmla="*/ 342 w 384"/>
                <a:gd name="T67" fmla="*/ 288 h 570"/>
                <a:gd name="T68" fmla="*/ 324 w 384"/>
                <a:gd name="T69" fmla="*/ 318 h 570"/>
                <a:gd name="T70" fmla="*/ 300 w 384"/>
                <a:gd name="T71" fmla="*/ 348 h 570"/>
                <a:gd name="T72" fmla="*/ 306 w 384"/>
                <a:gd name="T73" fmla="*/ 372 h 570"/>
                <a:gd name="T74" fmla="*/ 306 w 384"/>
                <a:gd name="T75" fmla="*/ 390 h 570"/>
                <a:gd name="T76" fmla="*/ 312 w 384"/>
                <a:gd name="T77" fmla="*/ 426 h 570"/>
                <a:gd name="T78" fmla="*/ 330 w 384"/>
                <a:gd name="T79" fmla="*/ 450 h 570"/>
                <a:gd name="T80" fmla="*/ 360 w 384"/>
                <a:gd name="T81" fmla="*/ 498 h 570"/>
                <a:gd name="T82" fmla="*/ 378 w 384"/>
                <a:gd name="T83" fmla="*/ 522 h 570"/>
                <a:gd name="T84" fmla="*/ 378 w 384"/>
                <a:gd name="T85" fmla="*/ 540 h 570"/>
                <a:gd name="T86" fmla="*/ 372 w 384"/>
                <a:gd name="T87" fmla="*/ 564 h 570"/>
                <a:gd name="T88" fmla="*/ 342 w 384"/>
                <a:gd name="T89" fmla="*/ 552 h 570"/>
                <a:gd name="T90" fmla="*/ 318 w 384"/>
                <a:gd name="T91" fmla="*/ 552 h 570"/>
                <a:gd name="T92" fmla="*/ 300 w 384"/>
                <a:gd name="T93" fmla="*/ 540 h 570"/>
                <a:gd name="T94" fmla="*/ 234 w 384"/>
                <a:gd name="T95" fmla="*/ 540 h 570"/>
                <a:gd name="T96" fmla="*/ 192 w 384"/>
                <a:gd name="T97" fmla="*/ 540 h 570"/>
                <a:gd name="T98" fmla="*/ 156 w 384"/>
                <a:gd name="T99" fmla="*/ 534 h 570"/>
                <a:gd name="T100" fmla="*/ 144 w 384"/>
                <a:gd name="T101" fmla="*/ 534 h 570"/>
                <a:gd name="T102" fmla="*/ 132 w 384"/>
                <a:gd name="T103" fmla="*/ 546 h 570"/>
                <a:gd name="T104" fmla="*/ 66 w 384"/>
                <a:gd name="T105" fmla="*/ 540 h 570"/>
                <a:gd name="T106" fmla="*/ 72 w 384"/>
                <a:gd name="T107" fmla="*/ 510 h 570"/>
                <a:gd name="T108" fmla="*/ 60 w 384"/>
                <a:gd name="T109" fmla="*/ 480 h 570"/>
                <a:gd name="T110" fmla="*/ 60 w 384"/>
                <a:gd name="T111" fmla="*/ 462 h 570"/>
                <a:gd name="T112" fmla="*/ 54 w 384"/>
                <a:gd name="T113" fmla="*/ 450 h 570"/>
                <a:gd name="T114" fmla="*/ 36 w 384"/>
                <a:gd name="T115" fmla="*/ 450 h 570"/>
                <a:gd name="T116" fmla="*/ 18 w 384"/>
                <a:gd name="T117" fmla="*/ 426 h 570"/>
                <a:gd name="T118" fmla="*/ 12 w 384"/>
                <a:gd name="T119" fmla="*/ 426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570"/>
                <a:gd name="T182" fmla="*/ 384 w 384"/>
                <a:gd name="T183" fmla="*/ 570 h 57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4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667" y="1897"/>
              <a:ext cx="550" cy="372"/>
            </a:xfrm>
            <a:custGeom>
              <a:avLst/>
              <a:gdLst>
                <a:gd name="T0" fmla="*/ 90 w 648"/>
                <a:gd name="T1" fmla="*/ 174 h 438"/>
                <a:gd name="T2" fmla="*/ 108 w 648"/>
                <a:gd name="T3" fmla="*/ 156 h 438"/>
                <a:gd name="T4" fmla="*/ 126 w 648"/>
                <a:gd name="T5" fmla="*/ 174 h 438"/>
                <a:gd name="T6" fmla="*/ 150 w 648"/>
                <a:gd name="T7" fmla="*/ 162 h 438"/>
                <a:gd name="T8" fmla="*/ 174 w 648"/>
                <a:gd name="T9" fmla="*/ 156 h 438"/>
                <a:gd name="T10" fmla="*/ 228 w 648"/>
                <a:gd name="T11" fmla="*/ 132 h 438"/>
                <a:gd name="T12" fmla="*/ 228 w 648"/>
                <a:gd name="T13" fmla="*/ 108 h 438"/>
                <a:gd name="T14" fmla="*/ 270 w 648"/>
                <a:gd name="T15" fmla="*/ 102 h 438"/>
                <a:gd name="T16" fmla="*/ 300 w 648"/>
                <a:gd name="T17" fmla="*/ 90 h 438"/>
                <a:gd name="T18" fmla="*/ 324 w 648"/>
                <a:gd name="T19" fmla="*/ 72 h 438"/>
                <a:gd name="T20" fmla="*/ 342 w 648"/>
                <a:gd name="T21" fmla="*/ 54 h 438"/>
                <a:gd name="T22" fmla="*/ 366 w 648"/>
                <a:gd name="T23" fmla="*/ 36 h 438"/>
                <a:gd name="T24" fmla="*/ 366 w 648"/>
                <a:gd name="T25" fmla="*/ 12 h 438"/>
                <a:gd name="T26" fmla="*/ 396 w 648"/>
                <a:gd name="T27" fmla="*/ 6 h 438"/>
                <a:gd name="T28" fmla="*/ 420 w 648"/>
                <a:gd name="T29" fmla="*/ 6 h 438"/>
                <a:gd name="T30" fmla="*/ 444 w 648"/>
                <a:gd name="T31" fmla="*/ 30 h 438"/>
                <a:gd name="T32" fmla="*/ 456 w 648"/>
                <a:gd name="T33" fmla="*/ 90 h 438"/>
                <a:gd name="T34" fmla="*/ 456 w 648"/>
                <a:gd name="T35" fmla="*/ 114 h 438"/>
                <a:gd name="T36" fmla="*/ 486 w 648"/>
                <a:gd name="T37" fmla="*/ 114 h 438"/>
                <a:gd name="T38" fmla="*/ 504 w 648"/>
                <a:gd name="T39" fmla="*/ 138 h 438"/>
                <a:gd name="T40" fmla="*/ 528 w 648"/>
                <a:gd name="T41" fmla="*/ 156 h 438"/>
                <a:gd name="T42" fmla="*/ 540 w 648"/>
                <a:gd name="T43" fmla="*/ 180 h 438"/>
                <a:gd name="T44" fmla="*/ 564 w 648"/>
                <a:gd name="T45" fmla="*/ 198 h 438"/>
                <a:gd name="T46" fmla="*/ 594 w 648"/>
                <a:gd name="T47" fmla="*/ 222 h 438"/>
                <a:gd name="T48" fmla="*/ 600 w 648"/>
                <a:gd name="T49" fmla="*/ 252 h 438"/>
                <a:gd name="T50" fmla="*/ 636 w 648"/>
                <a:gd name="T51" fmla="*/ 264 h 438"/>
                <a:gd name="T52" fmla="*/ 648 w 648"/>
                <a:gd name="T53" fmla="*/ 300 h 438"/>
                <a:gd name="T54" fmla="*/ 618 w 648"/>
                <a:gd name="T55" fmla="*/ 300 h 438"/>
                <a:gd name="T56" fmla="*/ 606 w 648"/>
                <a:gd name="T57" fmla="*/ 300 h 438"/>
                <a:gd name="T58" fmla="*/ 588 w 648"/>
                <a:gd name="T59" fmla="*/ 294 h 438"/>
                <a:gd name="T60" fmla="*/ 576 w 648"/>
                <a:gd name="T61" fmla="*/ 294 h 438"/>
                <a:gd name="T62" fmla="*/ 558 w 648"/>
                <a:gd name="T63" fmla="*/ 282 h 438"/>
                <a:gd name="T64" fmla="*/ 540 w 648"/>
                <a:gd name="T65" fmla="*/ 288 h 438"/>
                <a:gd name="T66" fmla="*/ 528 w 648"/>
                <a:gd name="T67" fmla="*/ 300 h 438"/>
                <a:gd name="T68" fmla="*/ 498 w 648"/>
                <a:gd name="T69" fmla="*/ 294 h 438"/>
                <a:gd name="T70" fmla="*/ 486 w 648"/>
                <a:gd name="T71" fmla="*/ 306 h 438"/>
                <a:gd name="T72" fmla="*/ 456 w 648"/>
                <a:gd name="T73" fmla="*/ 312 h 438"/>
                <a:gd name="T74" fmla="*/ 432 w 648"/>
                <a:gd name="T75" fmla="*/ 312 h 438"/>
                <a:gd name="T76" fmla="*/ 414 w 648"/>
                <a:gd name="T77" fmla="*/ 324 h 438"/>
                <a:gd name="T78" fmla="*/ 396 w 648"/>
                <a:gd name="T79" fmla="*/ 342 h 438"/>
                <a:gd name="T80" fmla="*/ 366 w 648"/>
                <a:gd name="T81" fmla="*/ 336 h 438"/>
                <a:gd name="T82" fmla="*/ 324 w 648"/>
                <a:gd name="T83" fmla="*/ 330 h 438"/>
                <a:gd name="T84" fmla="*/ 288 w 648"/>
                <a:gd name="T85" fmla="*/ 312 h 438"/>
                <a:gd name="T86" fmla="*/ 252 w 648"/>
                <a:gd name="T87" fmla="*/ 294 h 438"/>
                <a:gd name="T88" fmla="*/ 222 w 648"/>
                <a:gd name="T89" fmla="*/ 318 h 438"/>
                <a:gd name="T90" fmla="*/ 210 w 648"/>
                <a:gd name="T91" fmla="*/ 348 h 438"/>
                <a:gd name="T92" fmla="*/ 204 w 648"/>
                <a:gd name="T93" fmla="*/ 366 h 438"/>
                <a:gd name="T94" fmla="*/ 168 w 648"/>
                <a:gd name="T95" fmla="*/ 372 h 438"/>
                <a:gd name="T96" fmla="*/ 126 w 648"/>
                <a:gd name="T97" fmla="*/ 372 h 438"/>
                <a:gd name="T98" fmla="*/ 108 w 648"/>
                <a:gd name="T99" fmla="*/ 396 h 438"/>
                <a:gd name="T100" fmla="*/ 84 w 648"/>
                <a:gd name="T101" fmla="*/ 414 h 438"/>
                <a:gd name="T102" fmla="*/ 48 w 648"/>
                <a:gd name="T103" fmla="*/ 372 h 438"/>
                <a:gd name="T104" fmla="*/ 30 w 648"/>
                <a:gd name="T105" fmla="*/ 336 h 438"/>
                <a:gd name="T106" fmla="*/ 12 w 648"/>
                <a:gd name="T107" fmla="*/ 306 h 438"/>
                <a:gd name="T108" fmla="*/ 12 w 648"/>
                <a:gd name="T109" fmla="*/ 270 h 438"/>
                <a:gd name="T110" fmla="*/ 0 w 648"/>
                <a:gd name="T111" fmla="*/ 246 h 438"/>
                <a:gd name="T112" fmla="*/ 30 w 648"/>
                <a:gd name="T113" fmla="*/ 216 h 438"/>
                <a:gd name="T114" fmla="*/ 48 w 648"/>
                <a:gd name="T115" fmla="*/ 180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438"/>
                <a:gd name="T176" fmla="*/ 648 w 648"/>
                <a:gd name="T177" fmla="*/ 438 h 43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5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2172" y="1779"/>
              <a:ext cx="505" cy="403"/>
            </a:xfrm>
            <a:custGeom>
              <a:avLst/>
              <a:gdLst>
                <a:gd name="T0" fmla="*/ 48 w 594"/>
                <a:gd name="T1" fmla="*/ 66 h 474"/>
                <a:gd name="T2" fmla="*/ 90 w 594"/>
                <a:gd name="T3" fmla="*/ 6 h 474"/>
                <a:gd name="T4" fmla="*/ 138 w 594"/>
                <a:gd name="T5" fmla="*/ 0 h 474"/>
                <a:gd name="T6" fmla="*/ 198 w 594"/>
                <a:gd name="T7" fmla="*/ 24 h 474"/>
                <a:gd name="T8" fmla="*/ 246 w 594"/>
                <a:gd name="T9" fmla="*/ 30 h 474"/>
                <a:gd name="T10" fmla="*/ 288 w 594"/>
                <a:gd name="T11" fmla="*/ 36 h 474"/>
                <a:gd name="T12" fmla="*/ 330 w 594"/>
                <a:gd name="T13" fmla="*/ 48 h 474"/>
                <a:gd name="T14" fmla="*/ 372 w 594"/>
                <a:gd name="T15" fmla="*/ 30 h 474"/>
                <a:gd name="T16" fmla="*/ 444 w 594"/>
                <a:gd name="T17" fmla="*/ 24 h 474"/>
                <a:gd name="T18" fmla="*/ 468 w 594"/>
                <a:gd name="T19" fmla="*/ 36 h 474"/>
                <a:gd name="T20" fmla="*/ 492 w 594"/>
                <a:gd name="T21" fmla="*/ 30 h 474"/>
                <a:gd name="T22" fmla="*/ 510 w 594"/>
                <a:gd name="T23" fmla="*/ 18 h 474"/>
                <a:gd name="T24" fmla="*/ 516 w 594"/>
                <a:gd name="T25" fmla="*/ 18 h 474"/>
                <a:gd name="T26" fmla="*/ 534 w 594"/>
                <a:gd name="T27" fmla="*/ 6 h 474"/>
                <a:gd name="T28" fmla="*/ 570 w 594"/>
                <a:gd name="T29" fmla="*/ 72 h 474"/>
                <a:gd name="T30" fmla="*/ 594 w 594"/>
                <a:gd name="T31" fmla="*/ 96 h 474"/>
                <a:gd name="T32" fmla="*/ 588 w 594"/>
                <a:gd name="T33" fmla="*/ 120 h 474"/>
                <a:gd name="T34" fmla="*/ 558 w 594"/>
                <a:gd name="T35" fmla="*/ 132 h 474"/>
                <a:gd name="T36" fmla="*/ 540 w 594"/>
                <a:gd name="T37" fmla="*/ 162 h 474"/>
                <a:gd name="T38" fmla="*/ 522 w 594"/>
                <a:gd name="T39" fmla="*/ 192 h 474"/>
                <a:gd name="T40" fmla="*/ 522 w 594"/>
                <a:gd name="T41" fmla="*/ 210 h 474"/>
                <a:gd name="T42" fmla="*/ 504 w 594"/>
                <a:gd name="T43" fmla="*/ 234 h 474"/>
                <a:gd name="T44" fmla="*/ 492 w 594"/>
                <a:gd name="T45" fmla="*/ 258 h 474"/>
                <a:gd name="T46" fmla="*/ 474 w 594"/>
                <a:gd name="T47" fmla="*/ 288 h 474"/>
                <a:gd name="T48" fmla="*/ 462 w 594"/>
                <a:gd name="T49" fmla="*/ 318 h 474"/>
                <a:gd name="T50" fmla="*/ 444 w 594"/>
                <a:gd name="T51" fmla="*/ 336 h 474"/>
                <a:gd name="T52" fmla="*/ 438 w 594"/>
                <a:gd name="T53" fmla="*/ 354 h 474"/>
                <a:gd name="T54" fmla="*/ 426 w 594"/>
                <a:gd name="T55" fmla="*/ 360 h 474"/>
                <a:gd name="T56" fmla="*/ 402 w 594"/>
                <a:gd name="T57" fmla="*/ 342 h 474"/>
                <a:gd name="T58" fmla="*/ 384 w 594"/>
                <a:gd name="T59" fmla="*/ 342 h 474"/>
                <a:gd name="T60" fmla="*/ 354 w 594"/>
                <a:gd name="T61" fmla="*/ 354 h 474"/>
                <a:gd name="T62" fmla="*/ 348 w 594"/>
                <a:gd name="T63" fmla="*/ 366 h 474"/>
                <a:gd name="T64" fmla="*/ 330 w 594"/>
                <a:gd name="T65" fmla="*/ 378 h 474"/>
                <a:gd name="T66" fmla="*/ 306 w 594"/>
                <a:gd name="T67" fmla="*/ 402 h 474"/>
                <a:gd name="T68" fmla="*/ 300 w 594"/>
                <a:gd name="T69" fmla="*/ 438 h 474"/>
                <a:gd name="T70" fmla="*/ 282 w 594"/>
                <a:gd name="T71" fmla="*/ 450 h 474"/>
                <a:gd name="T72" fmla="*/ 276 w 594"/>
                <a:gd name="T73" fmla="*/ 462 h 474"/>
                <a:gd name="T74" fmla="*/ 240 w 594"/>
                <a:gd name="T75" fmla="*/ 468 h 474"/>
                <a:gd name="T76" fmla="*/ 210 w 594"/>
                <a:gd name="T77" fmla="*/ 468 h 474"/>
                <a:gd name="T78" fmla="*/ 186 w 594"/>
                <a:gd name="T79" fmla="*/ 474 h 474"/>
                <a:gd name="T80" fmla="*/ 150 w 594"/>
                <a:gd name="T81" fmla="*/ 462 h 474"/>
                <a:gd name="T82" fmla="*/ 132 w 594"/>
                <a:gd name="T83" fmla="*/ 426 h 474"/>
                <a:gd name="T84" fmla="*/ 120 w 594"/>
                <a:gd name="T85" fmla="*/ 402 h 474"/>
                <a:gd name="T86" fmla="*/ 78 w 594"/>
                <a:gd name="T87" fmla="*/ 372 h 474"/>
                <a:gd name="T88" fmla="*/ 36 w 594"/>
                <a:gd name="T89" fmla="*/ 372 h 474"/>
                <a:gd name="T90" fmla="*/ 0 w 594"/>
                <a:gd name="T91" fmla="*/ 360 h 474"/>
                <a:gd name="T92" fmla="*/ 6 w 594"/>
                <a:gd name="T93" fmla="*/ 336 h 474"/>
                <a:gd name="T94" fmla="*/ 0 w 594"/>
                <a:gd name="T95" fmla="*/ 312 h 474"/>
                <a:gd name="T96" fmla="*/ 0 w 594"/>
                <a:gd name="T97" fmla="*/ 270 h 474"/>
                <a:gd name="T98" fmla="*/ 6 w 594"/>
                <a:gd name="T99" fmla="*/ 246 h 474"/>
                <a:gd name="T100" fmla="*/ 18 w 594"/>
                <a:gd name="T101" fmla="*/ 228 h 474"/>
                <a:gd name="T102" fmla="*/ 36 w 594"/>
                <a:gd name="T103" fmla="*/ 198 h 474"/>
                <a:gd name="T104" fmla="*/ 42 w 594"/>
                <a:gd name="T105" fmla="*/ 174 h 474"/>
                <a:gd name="T106" fmla="*/ 54 w 594"/>
                <a:gd name="T107" fmla="*/ 150 h 474"/>
                <a:gd name="T108" fmla="*/ 42 w 594"/>
                <a:gd name="T109" fmla="*/ 108 h 4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94"/>
                <a:gd name="T166" fmla="*/ 0 h 474"/>
                <a:gd name="T167" fmla="*/ 594 w 594"/>
                <a:gd name="T168" fmla="*/ 474 h 47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94" h="474">
                  <a:moveTo>
                    <a:pt x="42" y="108"/>
                  </a:move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2" y="18"/>
                  </a:lnTo>
                  <a:lnTo>
                    <a:pt x="90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50" y="0"/>
                  </a:lnTo>
                  <a:lnTo>
                    <a:pt x="168" y="6"/>
                  </a:lnTo>
                  <a:lnTo>
                    <a:pt x="174" y="12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12"/>
                  </a:lnTo>
                  <a:lnTo>
                    <a:pt x="198" y="24"/>
                  </a:lnTo>
                  <a:lnTo>
                    <a:pt x="204" y="36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36"/>
                  </a:lnTo>
                  <a:lnTo>
                    <a:pt x="234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64" y="24"/>
                  </a:lnTo>
                  <a:lnTo>
                    <a:pt x="270" y="30"/>
                  </a:lnTo>
                  <a:lnTo>
                    <a:pt x="276" y="30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84" y="30"/>
                  </a:lnTo>
                  <a:lnTo>
                    <a:pt x="396" y="24"/>
                  </a:lnTo>
                  <a:lnTo>
                    <a:pt x="414" y="24"/>
                  </a:lnTo>
                  <a:lnTo>
                    <a:pt x="420" y="24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2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498" y="24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510" y="18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22" y="18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8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46" y="12"/>
                  </a:lnTo>
                  <a:lnTo>
                    <a:pt x="558" y="24"/>
                  </a:lnTo>
                  <a:lnTo>
                    <a:pt x="564" y="36"/>
                  </a:lnTo>
                  <a:lnTo>
                    <a:pt x="570" y="66"/>
                  </a:lnTo>
                  <a:lnTo>
                    <a:pt x="570" y="72"/>
                  </a:lnTo>
                  <a:lnTo>
                    <a:pt x="576" y="72"/>
                  </a:lnTo>
                  <a:lnTo>
                    <a:pt x="582" y="72"/>
                  </a:lnTo>
                  <a:lnTo>
                    <a:pt x="588" y="72"/>
                  </a:lnTo>
                  <a:lnTo>
                    <a:pt x="588" y="78"/>
                  </a:lnTo>
                  <a:lnTo>
                    <a:pt x="594" y="84"/>
                  </a:lnTo>
                  <a:lnTo>
                    <a:pt x="594" y="90"/>
                  </a:lnTo>
                  <a:lnTo>
                    <a:pt x="594" y="96"/>
                  </a:lnTo>
                  <a:lnTo>
                    <a:pt x="594" y="102"/>
                  </a:lnTo>
                  <a:lnTo>
                    <a:pt x="588" y="102"/>
                  </a:lnTo>
                  <a:lnTo>
                    <a:pt x="588" y="108"/>
                  </a:lnTo>
                  <a:lnTo>
                    <a:pt x="594" y="108"/>
                  </a:lnTo>
                  <a:lnTo>
                    <a:pt x="594" y="114"/>
                  </a:lnTo>
                  <a:lnTo>
                    <a:pt x="588" y="114"/>
                  </a:lnTo>
                  <a:lnTo>
                    <a:pt x="588" y="120"/>
                  </a:lnTo>
                  <a:lnTo>
                    <a:pt x="582" y="120"/>
                  </a:lnTo>
                  <a:lnTo>
                    <a:pt x="576" y="120"/>
                  </a:lnTo>
                  <a:lnTo>
                    <a:pt x="576" y="126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26"/>
                  </a:lnTo>
                  <a:lnTo>
                    <a:pt x="558" y="132"/>
                  </a:lnTo>
                  <a:lnTo>
                    <a:pt x="552" y="132"/>
                  </a:lnTo>
                  <a:lnTo>
                    <a:pt x="552" y="138"/>
                  </a:lnTo>
                  <a:lnTo>
                    <a:pt x="546" y="144"/>
                  </a:lnTo>
                  <a:lnTo>
                    <a:pt x="546" y="150"/>
                  </a:lnTo>
                  <a:lnTo>
                    <a:pt x="540" y="150"/>
                  </a:lnTo>
                  <a:lnTo>
                    <a:pt x="540" y="156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28" y="192"/>
                  </a:lnTo>
                  <a:lnTo>
                    <a:pt x="522" y="192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28" y="204"/>
                  </a:lnTo>
                  <a:lnTo>
                    <a:pt x="522" y="204"/>
                  </a:lnTo>
                  <a:lnTo>
                    <a:pt x="522" y="210"/>
                  </a:lnTo>
                  <a:lnTo>
                    <a:pt x="522" y="216"/>
                  </a:lnTo>
                  <a:lnTo>
                    <a:pt x="516" y="216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04" y="240"/>
                  </a:lnTo>
                  <a:lnTo>
                    <a:pt x="504" y="246"/>
                  </a:lnTo>
                  <a:lnTo>
                    <a:pt x="498" y="246"/>
                  </a:lnTo>
                  <a:lnTo>
                    <a:pt x="504" y="252"/>
                  </a:lnTo>
                  <a:lnTo>
                    <a:pt x="498" y="252"/>
                  </a:lnTo>
                  <a:lnTo>
                    <a:pt x="498" y="258"/>
                  </a:lnTo>
                  <a:lnTo>
                    <a:pt x="492" y="258"/>
                  </a:lnTo>
                  <a:lnTo>
                    <a:pt x="486" y="258"/>
                  </a:lnTo>
                  <a:lnTo>
                    <a:pt x="486" y="264"/>
                  </a:lnTo>
                  <a:lnTo>
                    <a:pt x="480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74" y="294"/>
                  </a:lnTo>
                  <a:lnTo>
                    <a:pt x="468" y="294"/>
                  </a:lnTo>
                  <a:lnTo>
                    <a:pt x="468" y="300"/>
                  </a:lnTo>
                  <a:lnTo>
                    <a:pt x="462" y="300"/>
                  </a:lnTo>
                  <a:lnTo>
                    <a:pt x="462" y="306"/>
                  </a:lnTo>
                  <a:lnTo>
                    <a:pt x="462" y="312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30"/>
                  </a:lnTo>
                  <a:lnTo>
                    <a:pt x="456" y="336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44" y="342"/>
                  </a:lnTo>
                  <a:lnTo>
                    <a:pt x="438" y="342"/>
                  </a:lnTo>
                  <a:lnTo>
                    <a:pt x="438" y="348"/>
                  </a:lnTo>
                  <a:lnTo>
                    <a:pt x="444" y="348"/>
                  </a:lnTo>
                  <a:lnTo>
                    <a:pt x="438" y="348"/>
                  </a:lnTo>
                  <a:lnTo>
                    <a:pt x="444" y="354"/>
                  </a:lnTo>
                  <a:lnTo>
                    <a:pt x="438" y="354"/>
                  </a:lnTo>
                  <a:lnTo>
                    <a:pt x="438" y="360"/>
                  </a:lnTo>
                  <a:lnTo>
                    <a:pt x="432" y="360"/>
                  </a:lnTo>
                  <a:lnTo>
                    <a:pt x="432" y="366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20" y="354"/>
                  </a:lnTo>
                  <a:lnTo>
                    <a:pt x="414" y="354"/>
                  </a:lnTo>
                  <a:lnTo>
                    <a:pt x="408" y="354"/>
                  </a:lnTo>
                  <a:lnTo>
                    <a:pt x="408" y="348"/>
                  </a:lnTo>
                  <a:lnTo>
                    <a:pt x="402" y="348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36"/>
                  </a:lnTo>
                  <a:lnTo>
                    <a:pt x="390" y="336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42"/>
                  </a:lnTo>
                  <a:lnTo>
                    <a:pt x="360" y="342"/>
                  </a:lnTo>
                  <a:lnTo>
                    <a:pt x="360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24" y="384"/>
                  </a:lnTo>
                  <a:lnTo>
                    <a:pt x="318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26"/>
                  </a:lnTo>
                  <a:lnTo>
                    <a:pt x="306" y="432"/>
                  </a:lnTo>
                  <a:lnTo>
                    <a:pt x="300" y="432"/>
                  </a:lnTo>
                  <a:lnTo>
                    <a:pt x="300" y="438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64" y="462"/>
                  </a:lnTo>
                  <a:lnTo>
                    <a:pt x="258" y="462"/>
                  </a:lnTo>
                  <a:lnTo>
                    <a:pt x="252" y="462"/>
                  </a:lnTo>
                  <a:lnTo>
                    <a:pt x="246" y="462"/>
                  </a:lnTo>
                  <a:lnTo>
                    <a:pt x="240" y="462"/>
                  </a:lnTo>
                  <a:lnTo>
                    <a:pt x="240" y="468"/>
                  </a:lnTo>
                  <a:lnTo>
                    <a:pt x="234" y="468"/>
                  </a:lnTo>
                  <a:lnTo>
                    <a:pt x="228" y="468"/>
                  </a:lnTo>
                  <a:lnTo>
                    <a:pt x="222" y="468"/>
                  </a:lnTo>
                  <a:lnTo>
                    <a:pt x="222" y="462"/>
                  </a:lnTo>
                  <a:lnTo>
                    <a:pt x="222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04" y="468"/>
                  </a:lnTo>
                  <a:lnTo>
                    <a:pt x="204" y="474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56"/>
                  </a:lnTo>
                  <a:lnTo>
                    <a:pt x="144" y="450"/>
                  </a:lnTo>
                  <a:lnTo>
                    <a:pt x="138" y="450"/>
                  </a:lnTo>
                  <a:lnTo>
                    <a:pt x="138" y="444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32" y="426"/>
                  </a:lnTo>
                  <a:lnTo>
                    <a:pt x="132" y="420"/>
                  </a:lnTo>
                  <a:lnTo>
                    <a:pt x="126" y="420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6" y="414"/>
                  </a:lnTo>
                  <a:lnTo>
                    <a:pt x="120" y="408"/>
                  </a:lnTo>
                  <a:lnTo>
                    <a:pt x="120" y="402"/>
                  </a:lnTo>
                  <a:lnTo>
                    <a:pt x="114" y="402"/>
                  </a:lnTo>
                  <a:lnTo>
                    <a:pt x="114" y="396"/>
                  </a:lnTo>
                  <a:lnTo>
                    <a:pt x="108" y="390"/>
                  </a:lnTo>
                  <a:lnTo>
                    <a:pt x="102" y="384"/>
                  </a:lnTo>
                  <a:lnTo>
                    <a:pt x="90" y="372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12" y="372"/>
                  </a:lnTo>
                  <a:lnTo>
                    <a:pt x="6" y="372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0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6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2" y="114"/>
                  </a:lnTo>
                  <a:lnTo>
                    <a:pt x="42" y="10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6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2427" y="2264"/>
              <a:ext cx="245" cy="270"/>
            </a:xfrm>
            <a:custGeom>
              <a:avLst/>
              <a:gdLst>
                <a:gd name="T0" fmla="*/ 48 w 288"/>
                <a:gd name="T1" fmla="*/ 108 h 318"/>
                <a:gd name="T2" fmla="*/ 54 w 288"/>
                <a:gd name="T3" fmla="*/ 108 h 318"/>
                <a:gd name="T4" fmla="*/ 42 w 288"/>
                <a:gd name="T5" fmla="*/ 102 h 318"/>
                <a:gd name="T6" fmla="*/ 36 w 288"/>
                <a:gd name="T7" fmla="*/ 84 h 318"/>
                <a:gd name="T8" fmla="*/ 42 w 288"/>
                <a:gd name="T9" fmla="*/ 72 h 318"/>
                <a:gd name="T10" fmla="*/ 60 w 288"/>
                <a:gd name="T11" fmla="*/ 66 h 318"/>
                <a:gd name="T12" fmla="*/ 132 w 288"/>
                <a:gd name="T13" fmla="*/ 12 h 318"/>
                <a:gd name="T14" fmla="*/ 138 w 288"/>
                <a:gd name="T15" fmla="*/ 0 h 318"/>
                <a:gd name="T16" fmla="*/ 144 w 288"/>
                <a:gd name="T17" fmla="*/ 6 h 318"/>
                <a:gd name="T18" fmla="*/ 162 w 288"/>
                <a:gd name="T19" fmla="*/ 6 h 318"/>
                <a:gd name="T20" fmla="*/ 192 w 288"/>
                <a:gd name="T21" fmla="*/ 6 h 318"/>
                <a:gd name="T22" fmla="*/ 222 w 288"/>
                <a:gd name="T23" fmla="*/ 6 h 318"/>
                <a:gd name="T24" fmla="*/ 222 w 288"/>
                <a:gd name="T25" fmla="*/ 24 h 318"/>
                <a:gd name="T26" fmla="*/ 222 w 288"/>
                <a:gd name="T27" fmla="*/ 42 h 318"/>
                <a:gd name="T28" fmla="*/ 240 w 288"/>
                <a:gd name="T29" fmla="*/ 54 h 318"/>
                <a:gd name="T30" fmla="*/ 252 w 288"/>
                <a:gd name="T31" fmla="*/ 48 h 318"/>
                <a:gd name="T32" fmla="*/ 276 w 288"/>
                <a:gd name="T33" fmla="*/ 54 h 318"/>
                <a:gd name="T34" fmla="*/ 282 w 288"/>
                <a:gd name="T35" fmla="*/ 72 h 318"/>
                <a:gd name="T36" fmla="*/ 270 w 288"/>
                <a:gd name="T37" fmla="*/ 90 h 318"/>
                <a:gd name="T38" fmla="*/ 258 w 288"/>
                <a:gd name="T39" fmla="*/ 108 h 318"/>
                <a:gd name="T40" fmla="*/ 258 w 288"/>
                <a:gd name="T41" fmla="*/ 126 h 318"/>
                <a:gd name="T42" fmla="*/ 282 w 288"/>
                <a:gd name="T43" fmla="*/ 138 h 318"/>
                <a:gd name="T44" fmla="*/ 282 w 288"/>
                <a:gd name="T45" fmla="*/ 168 h 318"/>
                <a:gd name="T46" fmla="*/ 288 w 288"/>
                <a:gd name="T47" fmla="*/ 192 h 318"/>
                <a:gd name="T48" fmla="*/ 276 w 288"/>
                <a:gd name="T49" fmla="*/ 216 h 318"/>
                <a:gd name="T50" fmla="*/ 264 w 288"/>
                <a:gd name="T51" fmla="*/ 240 h 318"/>
                <a:gd name="T52" fmla="*/ 252 w 288"/>
                <a:gd name="T53" fmla="*/ 228 h 318"/>
                <a:gd name="T54" fmla="*/ 234 w 288"/>
                <a:gd name="T55" fmla="*/ 240 h 318"/>
                <a:gd name="T56" fmla="*/ 210 w 288"/>
                <a:gd name="T57" fmla="*/ 234 h 318"/>
                <a:gd name="T58" fmla="*/ 204 w 288"/>
                <a:gd name="T59" fmla="*/ 216 h 318"/>
                <a:gd name="T60" fmla="*/ 186 w 288"/>
                <a:gd name="T61" fmla="*/ 222 h 318"/>
                <a:gd name="T62" fmla="*/ 162 w 288"/>
                <a:gd name="T63" fmla="*/ 234 h 318"/>
                <a:gd name="T64" fmla="*/ 144 w 288"/>
                <a:gd name="T65" fmla="*/ 240 h 318"/>
                <a:gd name="T66" fmla="*/ 150 w 288"/>
                <a:gd name="T67" fmla="*/ 258 h 318"/>
                <a:gd name="T68" fmla="*/ 162 w 288"/>
                <a:gd name="T69" fmla="*/ 276 h 318"/>
                <a:gd name="T70" fmla="*/ 156 w 288"/>
                <a:gd name="T71" fmla="*/ 294 h 318"/>
                <a:gd name="T72" fmla="*/ 144 w 288"/>
                <a:gd name="T73" fmla="*/ 300 h 318"/>
                <a:gd name="T74" fmla="*/ 126 w 288"/>
                <a:gd name="T75" fmla="*/ 306 h 318"/>
                <a:gd name="T76" fmla="*/ 114 w 288"/>
                <a:gd name="T77" fmla="*/ 312 h 318"/>
                <a:gd name="T78" fmla="*/ 108 w 288"/>
                <a:gd name="T79" fmla="*/ 294 h 318"/>
                <a:gd name="T80" fmla="*/ 90 w 288"/>
                <a:gd name="T81" fmla="*/ 276 h 318"/>
                <a:gd name="T82" fmla="*/ 72 w 288"/>
                <a:gd name="T83" fmla="*/ 258 h 318"/>
                <a:gd name="T84" fmla="*/ 60 w 288"/>
                <a:gd name="T85" fmla="*/ 252 h 318"/>
                <a:gd name="T86" fmla="*/ 42 w 288"/>
                <a:gd name="T87" fmla="*/ 240 h 318"/>
                <a:gd name="T88" fmla="*/ 30 w 288"/>
                <a:gd name="T89" fmla="*/ 216 h 318"/>
                <a:gd name="T90" fmla="*/ 24 w 288"/>
                <a:gd name="T91" fmla="*/ 192 h 318"/>
                <a:gd name="T92" fmla="*/ 12 w 288"/>
                <a:gd name="T93" fmla="*/ 174 h 318"/>
                <a:gd name="T94" fmla="*/ 6 w 288"/>
                <a:gd name="T95" fmla="*/ 168 h 318"/>
                <a:gd name="T96" fmla="*/ 0 w 288"/>
                <a:gd name="T97" fmla="*/ 156 h 318"/>
                <a:gd name="T98" fmla="*/ 18 w 288"/>
                <a:gd name="T99" fmla="*/ 156 h 318"/>
                <a:gd name="T100" fmla="*/ 24 w 288"/>
                <a:gd name="T101" fmla="*/ 144 h 318"/>
                <a:gd name="T102" fmla="*/ 30 w 288"/>
                <a:gd name="T103" fmla="*/ 120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8"/>
                <a:gd name="T157" fmla="*/ 0 h 318"/>
                <a:gd name="T158" fmla="*/ 288 w 288"/>
                <a:gd name="T159" fmla="*/ 318 h 3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7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2529" y="2208"/>
              <a:ext cx="316" cy="367"/>
            </a:xfrm>
            <a:custGeom>
              <a:avLst/>
              <a:gdLst>
                <a:gd name="T0" fmla="*/ 12 w 372"/>
                <a:gd name="T1" fmla="*/ 360 h 432"/>
                <a:gd name="T2" fmla="*/ 36 w 372"/>
                <a:gd name="T3" fmla="*/ 366 h 432"/>
                <a:gd name="T4" fmla="*/ 36 w 372"/>
                <a:gd name="T5" fmla="*/ 342 h 432"/>
                <a:gd name="T6" fmla="*/ 30 w 372"/>
                <a:gd name="T7" fmla="*/ 324 h 432"/>
                <a:gd name="T8" fmla="*/ 24 w 372"/>
                <a:gd name="T9" fmla="*/ 300 h 432"/>
                <a:gd name="T10" fmla="*/ 66 w 372"/>
                <a:gd name="T11" fmla="*/ 306 h 432"/>
                <a:gd name="T12" fmla="*/ 72 w 372"/>
                <a:gd name="T13" fmla="*/ 276 h 432"/>
                <a:gd name="T14" fmla="*/ 96 w 372"/>
                <a:gd name="T15" fmla="*/ 294 h 432"/>
                <a:gd name="T16" fmla="*/ 114 w 372"/>
                <a:gd name="T17" fmla="*/ 306 h 432"/>
                <a:gd name="T18" fmla="*/ 138 w 372"/>
                <a:gd name="T19" fmla="*/ 294 h 432"/>
                <a:gd name="T20" fmla="*/ 150 w 372"/>
                <a:gd name="T21" fmla="*/ 294 h 432"/>
                <a:gd name="T22" fmla="*/ 162 w 372"/>
                <a:gd name="T23" fmla="*/ 264 h 432"/>
                <a:gd name="T24" fmla="*/ 168 w 372"/>
                <a:gd name="T25" fmla="*/ 246 h 432"/>
                <a:gd name="T26" fmla="*/ 162 w 372"/>
                <a:gd name="T27" fmla="*/ 204 h 432"/>
                <a:gd name="T28" fmla="*/ 138 w 372"/>
                <a:gd name="T29" fmla="*/ 198 h 432"/>
                <a:gd name="T30" fmla="*/ 138 w 372"/>
                <a:gd name="T31" fmla="*/ 162 h 432"/>
                <a:gd name="T32" fmla="*/ 162 w 372"/>
                <a:gd name="T33" fmla="*/ 144 h 432"/>
                <a:gd name="T34" fmla="*/ 156 w 372"/>
                <a:gd name="T35" fmla="*/ 126 h 432"/>
                <a:gd name="T36" fmla="*/ 132 w 372"/>
                <a:gd name="T37" fmla="*/ 114 h 432"/>
                <a:gd name="T38" fmla="*/ 114 w 372"/>
                <a:gd name="T39" fmla="*/ 120 h 432"/>
                <a:gd name="T40" fmla="*/ 96 w 372"/>
                <a:gd name="T41" fmla="*/ 102 h 432"/>
                <a:gd name="T42" fmla="*/ 108 w 372"/>
                <a:gd name="T43" fmla="*/ 78 h 432"/>
                <a:gd name="T44" fmla="*/ 174 w 372"/>
                <a:gd name="T45" fmla="*/ 72 h 432"/>
                <a:gd name="T46" fmla="*/ 186 w 372"/>
                <a:gd name="T47" fmla="*/ 84 h 432"/>
                <a:gd name="T48" fmla="*/ 210 w 372"/>
                <a:gd name="T49" fmla="*/ 90 h 432"/>
                <a:gd name="T50" fmla="*/ 234 w 372"/>
                <a:gd name="T51" fmla="*/ 90 h 432"/>
                <a:gd name="T52" fmla="*/ 246 w 372"/>
                <a:gd name="T53" fmla="*/ 90 h 432"/>
                <a:gd name="T54" fmla="*/ 252 w 372"/>
                <a:gd name="T55" fmla="*/ 72 h 432"/>
                <a:gd name="T56" fmla="*/ 270 w 372"/>
                <a:gd name="T57" fmla="*/ 24 h 432"/>
                <a:gd name="T58" fmla="*/ 294 w 372"/>
                <a:gd name="T59" fmla="*/ 6 h 432"/>
                <a:gd name="T60" fmla="*/ 330 w 372"/>
                <a:gd name="T61" fmla="*/ 0 h 432"/>
                <a:gd name="T62" fmla="*/ 354 w 372"/>
                <a:gd name="T63" fmla="*/ 12 h 432"/>
                <a:gd name="T64" fmla="*/ 372 w 372"/>
                <a:gd name="T65" fmla="*/ 18 h 432"/>
                <a:gd name="T66" fmla="*/ 360 w 372"/>
                <a:gd name="T67" fmla="*/ 42 h 432"/>
                <a:gd name="T68" fmla="*/ 342 w 372"/>
                <a:gd name="T69" fmla="*/ 72 h 432"/>
                <a:gd name="T70" fmla="*/ 342 w 372"/>
                <a:gd name="T71" fmla="*/ 108 h 432"/>
                <a:gd name="T72" fmla="*/ 330 w 372"/>
                <a:gd name="T73" fmla="*/ 132 h 432"/>
                <a:gd name="T74" fmla="*/ 336 w 372"/>
                <a:gd name="T75" fmla="*/ 168 h 432"/>
                <a:gd name="T76" fmla="*/ 324 w 372"/>
                <a:gd name="T77" fmla="*/ 192 h 432"/>
                <a:gd name="T78" fmla="*/ 318 w 372"/>
                <a:gd name="T79" fmla="*/ 222 h 432"/>
                <a:gd name="T80" fmla="*/ 288 w 372"/>
                <a:gd name="T81" fmla="*/ 240 h 432"/>
                <a:gd name="T82" fmla="*/ 270 w 372"/>
                <a:gd name="T83" fmla="*/ 276 h 432"/>
                <a:gd name="T84" fmla="*/ 252 w 372"/>
                <a:gd name="T85" fmla="*/ 300 h 432"/>
                <a:gd name="T86" fmla="*/ 252 w 372"/>
                <a:gd name="T87" fmla="*/ 336 h 432"/>
                <a:gd name="T88" fmla="*/ 240 w 372"/>
                <a:gd name="T89" fmla="*/ 372 h 432"/>
                <a:gd name="T90" fmla="*/ 216 w 372"/>
                <a:gd name="T91" fmla="*/ 390 h 432"/>
                <a:gd name="T92" fmla="*/ 192 w 372"/>
                <a:gd name="T93" fmla="*/ 408 h 432"/>
                <a:gd name="T94" fmla="*/ 174 w 372"/>
                <a:gd name="T95" fmla="*/ 426 h 432"/>
                <a:gd name="T96" fmla="*/ 156 w 372"/>
                <a:gd name="T97" fmla="*/ 408 h 432"/>
                <a:gd name="T98" fmla="*/ 156 w 372"/>
                <a:gd name="T99" fmla="*/ 396 h 432"/>
                <a:gd name="T100" fmla="*/ 132 w 372"/>
                <a:gd name="T101" fmla="*/ 408 h 432"/>
                <a:gd name="T102" fmla="*/ 120 w 372"/>
                <a:gd name="T103" fmla="*/ 420 h 432"/>
                <a:gd name="T104" fmla="*/ 96 w 372"/>
                <a:gd name="T105" fmla="*/ 414 h 432"/>
                <a:gd name="T106" fmla="*/ 78 w 372"/>
                <a:gd name="T107" fmla="*/ 408 h 432"/>
                <a:gd name="T108" fmla="*/ 48 w 372"/>
                <a:gd name="T109" fmla="*/ 426 h 432"/>
                <a:gd name="T110" fmla="*/ 30 w 372"/>
                <a:gd name="T111" fmla="*/ 414 h 432"/>
                <a:gd name="T112" fmla="*/ 12 w 372"/>
                <a:gd name="T113" fmla="*/ 396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2"/>
                <a:gd name="T172" fmla="*/ 0 h 432"/>
                <a:gd name="T173" fmla="*/ 372 w 372"/>
                <a:gd name="T174" fmla="*/ 432 h 4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8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2453" y="2264"/>
              <a:ext cx="81" cy="61"/>
            </a:xfrm>
            <a:custGeom>
              <a:avLst/>
              <a:gdLst>
                <a:gd name="T0" fmla="*/ 24 w 96"/>
                <a:gd name="T1" fmla="*/ 0 h 72"/>
                <a:gd name="T2" fmla="*/ 24 w 96"/>
                <a:gd name="T3" fmla="*/ 6 h 72"/>
                <a:gd name="T4" fmla="*/ 30 w 96"/>
                <a:gd name="T5" fmla="*/ 6 h 72"/>
                <a:gd name="T6" fmla="*/ 30 w 96"/>
                <a:gd name="T7" fmla="*/ 12 h 72"/>
                <a:gd name="T8" fmla="*/ 36 w 96"/>
                <a:gd name="T9" fmla="*/ 12 h 72"/>
                <a:gd name="T10" fmla="*/ 36 w 96"/>
                <a:gd name="T11" fmla="*/ 6 h 72"/>
                <a:gd name="T12" fmla="*/ 36 w 96"/>
                <a:gd name="T13" fmla="*/ 12 h 72"/>
                <a:gd name="T14" fmla="*/ 42 w 96"/>
                <a:gd name="T15" fmla="*/ 12 h 72"/>
                <a:gd name="T16" fmla="*/ 90 w 96"/>
                <a:gd name="T17" fmla="*/ 12 h 72"/>
                <a:gd name="T18" fmla="*/ 90 w 96"/>
                <a:gd name="T19" fmla="*/ 6 h 72"/>
                <a:gd name="T20" fmla="*/ 96 w 96"/>
                <a:gd name="T21" fmla="*/ 12 h 72"/>
                <a:gd name="T22" fmla="*/ 96 w 96"/>
                <a:gd name="T23" fmla="*/ 66 h 72"/>
                <a:gd name="T24" fmla="*/ 90 w 96"/>
                <a:gd name="T25" fmla="*/ 66 h 72"/>
                <a:gd name="T26" fmla="*/ 84 w 96"/>
                <a:gd name="T27" fmla="*/ 66 h 72"/>
                <a:gd name="T28" fmla="*/ 30 w 96"/>
                <a:gd name="T29" fmla="*/ 66 h 72"/>
                <a:gd name="T30" fmla="*/ 30 w 96"/>
                <a:gd name="T31" fmla="*/ 72 h 72"/>
                <a:gd name="T32" fmla="*/ 24 w 96"/>
                <a:gd name="T33" fmla="*/ 66 h 72"/>
                <a:gd name="T34" fmla="*/ 18 w 96"/>
                <a:gd name="T35" fmla="*/ 66 h 72"/>
                <a:gd name="T36" fmla="*/ 12 w 96"/>
                <a:gd name="T37" fmla="*/ 66 h 72"/>
                <a:gd name="T38" fmla="*/ 12 w 96"/>
                <a:gd name="T39" fmla="*/ 60 h 72"/>
                <a:gd name="T40" fmla="*/ 6 w 96"/>
                <a:gd name="T41" fmla="*/ 60 h 72"/>
                <a:gd name="T42" fmla="*/ 0 w 96"/>
                <a:gd name="T43" fmla="*/ 60 h 72"/>
                <a:gd name="T44" fmla="*/ 0 w 96"/>
                <a:gd name="T45" fmla="*/ 54 h 72"/>
                <a:gd name="T46" fmla="*/ 6 w 96"/>
                <a:gd name="T47" fmla="*/ 54 h 72"/>
                <a:gd name="T48" fmla="*/ 6 w 96"/>
                <a:gd name="T49" fmla="*/ 48 h 72"/>
                <a:gd name="T50" fmla="*/ 12 w 96"/>
                <a:gd name="T51" fmla="*/ 42 h 72"/>
                <a:gd name="T52" fmla="*/ 12 w 96"/>
                <a:gd name="T53" fmla="*/ 48 h 72"/>
                <a:gd name="T54" fmla="*/ 12 w 96"/>
                <a:gd name="T55" fmla="*/ 42 h 72"/>
                <a:gd name="T56" fmla="*/ 12 w 96"/>
                <a:gd name="T57" fmla="*/ 36 h 72"/>
                <a:gd name="T58" fmla="*/ 18 w 96"/>
                <a:gd name="T59" fmla="*/ 30 h 72"/>
                <a:gd name="T60" fmla="*/ 18 w 96"/>
                <a:gd name="T61" fmla="*/ 24 h 72"/>
                <a:gd name="T62" fmla="*/ 24 w 96"/>
                <a:gd name="T63" fmla="*/ 24 h 72"/>
                <a:gd name="T64" fmla="*/ 18 w 96"/>
                <a:gd name="T65" fmla="*/ 12 h 72"/>
                <a:gd name="T66" fmla="*/ 24 w 96"/>
                <a:gd name="T67" fmla="*/ 12 h 72"/>
                <a:gd name="T68" fmla="*/ 24 w 96"/>
                <a:gd name="T69" fmla="*/ 6 h 72"/>
                <a:gd name="T70" fmla="*/ 24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6"/>
                <a:gd name="T109" fmla="*/ 0 h 72"/>
                <a:gd name="T110" fmla="*/ 96 w 96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9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346" y="1779"/>
              <a:ext cx="128" cy="31"/>
            </a:xfrm>
            <a:custGeom>
              <a:avLst/>
              <a:gdLst>
                <a:gd name="T0" fmla="*/ 54 w 150"/>
                <a:gd name="T1" fmla="*/ 12 h 36"/>
                <a:gd name="T2" fmla="*/ 72 w 150"/>
                <a:gd name="T3" fmla="*/ 6 h 36"/>
                <a:gd name="T4" fmla="*/ 78 w 150"/>
                <a:gd name="T5" fmla="*/ 0 h 36"/>
                <a:gd name="T6" fmla="*/ 84 w 150"/>
                <a:gd name="T7" fmla="*/ 6 h 36"/>
                <a:gd name="T8" fmla="*/ 90 w 150"/>
                <a:gd name="T9" fmla="*/ 0 h 36"/>
                <a:gd name="T10" fmla="*/ 102 w 150"/>
                <a:gd name="T11" fmla="*/ 6 h 36"/>
                <a:gd name="T12" fmla="*/ 108 w 150"/>
                <a:gd name="T13" fmla="*/ 12 h 36"/>
                <a:gd name="T14" fmla="*/ 120 w 150"/>
                <a:gd name="T15" fmla="*/ 12 h 36"/>
                <a:gd name="T16" fmla="*/ 126 w 150"/>
                <a:gd name="T17" fmla="*/ 18 h 36"/>
                <a:gd name="T18" fmla="*/ 138 w 150"/>
                <a:gd name="T19" fmla="*/ 12 h 36"/>
                <a:gd name="T20" fmla="*/ 150 w 150"/>
                <a:gd name="T21" fmla="*/ 18 h 36"/>
                <a:gd name="T22" fmla="*/ 144 w 150"/>
                <a:gd name="T23" fmla="*/ 24 h 36"/>
                <a:gd name="T24" fmla="*/ 138 w 150"/>
                <a:gd name="T25" fmla="*/ 30 h 36"/>
                <a:gd name="T26" fmla="*/ 126 w 150"/>
                <a:gd name="T27" fmla="*/ 30 h 36"/>
                <a:gd name="T28" fmla="*/ 120 w 150"/>
                <a:gd name="T29" fmla="*/ 24 h 36"/>
                <a:gd name="T30" fmla="*/ 108 w 150"/>
                <a:gd name="T31" fmla="*/ 24 h 36"/>
                <a:gd name="T32" fmla="*/ 102 w 150"/>
                <a:gd name="T33" fmla="*/ 18 h 36"/>
                <a:gd name="T34" fmla="*/ 90 w 150"/>
                <a:gd name="T35" fmla="*/ 18 h 36"/>
                <a:gd name="T36" fmla="*/ 84 w 150"/>
                <a:gd name="T37" fmla="*/ 12 h 36"/>
                <a:gd name="T38" fmla="*/ 84 w 150"/>
                <a:gd name="T39" fmla="*/ 24 h 36"/>
                <a:gd name="T40" fmla="*/ 72 w 150"/>
                <a:gd name="T41" fmla="*/ 24 h 36"/>
                <a:gd name="T42" fmla="*/ 60 w 150"/>
                <a:gd name="T43" fmla="*/ 24 h 36"/>
                <a:gd name="T44" fmla="*/ 54 w 150"/>
                <a:gd name="T45" fmla="*/ 36 h 36"/>
                <a:gd name="T46" fmla="*/ 24 w 150"/>
                <a:gd name="T47" fmla="*/ 36 h 36"/>
                <a:gd name="T48" fmla="*/ 6 w 150"/>
                <a:gd name="T49" fmla="*/ 30 h 36"/>
                <a:gd name="T50" fmla="*/ 0 w 150"/>
                <a:gd name="T51" fmla="*/ 24 h 36"/>
                <a:gd name="T52" fmla="*/ 6 w 150"/>
                <a:gd name="T53" fmla="*/ 18 h 36"/>
                <a:gd name="T54" fmla="*/ 12 w 150"/>
                <a:gd name="T55" fmla="*/ 24 h 36"/>
                <a:gd name="T56" fmla="*/ 24 w 150"/>
                <a:gd name="T57" fmla="*/ 30 h 36"/>
                <a:gd name="T58" fmla="*/ 36 w 150"/>
                <a:gd name="T59" fmla="*/ 24 h 36"/>
                <a:gd name="T60" fmla="*/ 36 w 150"/>
                <a:gd name="T61" fmla="*/ 24 h 36"/>
                <a:gd name="T62" fmla="*/ 42 w 150"/>
                <a:gd name="T63" fmla="*/ 18 h 36"/>
                <a:gd name="T64" fmla="*/ 42 w 150"/>
                <a:gd name="T65" fmla="*/ 18 h 36"/>
                <a:gd name="T66" fmla="*/ 54 w 150"/>
                <a:gd name="T67" fmla="*/ 18 h 36"/>
                <a:gd name="T68" fmla="*/ 66 w 150"/>
                <a:gd name="T69" fmla="*/ 18 h 36"/>
                <a:gd name="T70" fmla="*/ 54 w 150"/>
                <a:gd name="T71" fmla="*/ 18 h 36"/>
                <a:gd name="T72" fmla="*/ 42 w 150"/>
                <a:gd name="T73" fmla="*/ 18 h 36"/>
                <a:gd name="T74" fmla="*/ 30 w 150"/>
                <a:gd name="T75" fmla="*/ 24 h 36"/>
                <a:gd name="T76" fmla="*/ 18 w 150"/>
                <a:gd name="T77" fmla="*/ 24 h 36"/>
                <a:gd name="T78" fmla="*/ 18 w 150"/>
                <a:gd name="T79" fmla="*/ 12 h 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36"/>
                <a:gd name="T122" fmla="*/ 150 w 150"/>
                <a:gd name="T123" fmla="*/ 36 h 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36">
                  <a:moveTo>
                    <a:pt x="18" y="12"/>
                  </a:moveTo>
                  <a:lnTo>
                    <a:pt x="54" y="12"/>
                  </a:lnTo>
                  <a:lnTo>
                    <a:pt x="66" y="12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6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30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351" y="1830"/>
              <a:ext cx="133" cy="72"/>
            </a:xfrm>
            <a:custGeom>
              <a:avLst/>
              <a:gdLst>
                <a:gd name="T0" fmla="*/ 12 w 156"/>
                <a:gd name="T1" fmla="*/ 12 h 84"/>
                <a:gd name="T2" fmla="*/ 30 w 156"/>
                <a:gd name="T3" fmla="*/ 6 h 84"/>
                <a:gd name="T4" fmla="*/ 54 w 156"/>
                <a:gd name="T5" fmla="*/ 12 h 84"/>
                <a:gd name="T6" fmla="*/ 72 w 156"/>
                <a:gd name="T7" fmla="*/ 0 h 84"/>
                <a:gd name="T8" fmla="*/ 96 w 156"/>
                <a:gd name="T9" fmla="*/ 0 h 84"/>
                <a:gd name="T10" fmla="*/ 156 w 156"/>
                <a:gd name="T11" fmla="*/ 6 h 84"/>
                <a:gd name="T12" fmla="*/ 150 w 156"/>
                <a:gd name="T13" fmla="*/ 18 h 84"/>
                <a:gd name="T14" fmla="*/ 138 w 156"/>
                <a:gd name="T15" fmla="*/ 24 h 84"/>
                <a:gd name="T16" fmla="*/ 150 w 156"/>
                <a:gd name="T17" fmla="*/ 30 h 84"/>
                <a:gd name="T18" fmla="*/ 150 w 156"/>
                <a:gd name="T19" fmla="*/ 48 h 84"/>
                <a:gd name="T20" fmla="*/ 144 w 156"/>
                <a:gd name="T21" fmla="*/ 48 h 84"/>
                <a:gd name="T22" fmla="*/ 126 w 156"/>
                <a:gd name="T23" fmla="*/ 48 h 84"/>
                <a:gd name="T24" fmla="*/ 102 w 156"/>
                <a:gd name="T25" fmla="*/ 54 h 84"/>
                <a:gd name="T26" fmla="*/ 96 w 156"/>
                <a:gd name="T27" fmla="*/ 66 h 84"/>
                <a:gd name="T28" fmla="*/ 84 w 156"/>
                <a:gd name="T29" fmla="*/ 84 h 84"/>
                <a:gd name="T30" fmla="*/ 84 w 156"/>
                <a:gd name="T31" fmla="*/ 72 h 84"/>
                <a:gd name="T32" fmla="*/ 78 w 156"/>
                <a:gd name="T33" fmla="*/ 72 h 84"/>
                <a:gd name="T34" fmla="*/ 72 w 156"/>
                <a:gd name="T35" fmla="*/ 72 h 84"/>
                <a:gd name="T36" fmla="*/ 66 w 156"/>
                <a:gd name="T37" fmla="*/ 72 h 84"/>
                <a:gd name="T38" fmla="*/ 72 w 156"/>
                <a:gd name="T39" fmla="*/ 60 h 84"/>
                <a:gd name="T40" fmla="*/ 60 w 156"/>
                <a:gd name="T41" fmla="*/ 66 h 84"/>
                <a:gd name="T42" fmla="*/ 60 w 156"/>
                <a:gd name="T43" fmla="*/ 60 h 84"/>
                <a:gd name="T44" fmla="*/ 66 w 156"/>
                <a:gd name="T45" fmla="*/ 54 h 84"/>
                <a:gd name="T46" fmla="*/ 72 w 156"/>
                <a:gd name="T47" fmla="*/ 54 h 84"/>
                <a:gd name="T48" fmla="*/ 78 w 156"/>
                <a:gd name="T49" fmla="*/ 54 h 84"/>
                <a:gd name="T50" fmla="*/ 78 w 156"/>
                <a:gd name="T51" fmla="*/ 48 h 84"/>
                <a:gd name="T52" fmla="*/ 78 w 156"/>
                <a:gd name="T53" fmla="*/ 54 h 84"/>
                <a:gd name="T54" fmla="*/ 84 w 156"/>
                <a:gd name="T55" fmla="*/ 54 h 84"/>
                <a:gd name="T56" fmla="*/ 84 w 156"/>
                <a:gd name="T57" fmla="*/ 48 h 84"/>
                <a:gd name="T58" fmla="*/ 78 w 156"/>
                <a:gd name="T59" fmla="*/ 48 h 84"/>
                <a:gd name="T60" fmla="*/ 72 w 156"/>
                <a:gd name="T61" fmla="*/ 48 h 84"/>
                <a:gd name="T62" fmla="*/ 78 w 156"/>
                <a:gd name="T63" fmla="*/ 48 h 84"/>
                <a:gd name="T64" fmla="*/ 78 w 156"/>
                <a:gd name="T65" fmla="*/ 42 h 84"/>
                <a:gd name="T66" fmla="*/ 72 w 156"/>
                <a:gd name="T67" fmla="*/ 48 h 84"/>
                <a:gd name="T68" fmla="*/ 66 w 156"/>
                <a:gd name="T69" fmla="*/ 48 h 84"/>
                <a:gd name="T70" fmla="*/ 66 w 156"/>
                <a:gd name="T71" fmla="*/ 48 h 84"/>
                <a:gd name="T72" fmla="*/ 60 w 156"/>
                <a:gd name="T73" fmla="*/ 48 h 84"/>
                <a:gd name="T74" fmla="*/ 66 w 156"/>
                <a:gd name="T75" fmla="*/ 36 h 84"/>
                <a:gd name="T76" fmla="*/ 84 w 156"/>
                <a:gd name="T77" fmla="*/ 36 h 84"/>
                <a:gd name="T78" fmla="*/ 78 w 156"/>
                <a:gd name="T79" fmla="*/ 36 h 84"/>
                <a:gd name="T80" fmla="*/ 66 w 156"/>
                <a:gd name="T81" fmla="*/ 36 h 84"/>
                <a:gd name="T82" fmla="*/ 48 w 156"/>
                <a:gd name="T83" fmla="*/ 42 h 84"/>
                <a:gd name="T84" fmla="*/ 42 w 156"/>
                <a:gd name="T85" fmla="*/ 42 h 84"/>
                <a:gd name="T86" fmla="*/ 30 w 156"/>
                <a:gd name="T87" fmla="*/ 36 h 84"/>
                <a:gd name="T88" fmla="*/ 18 w 156"/>
                <a:gd name="T89" fmla="*/ 30 h 84"/>
                <a:gd name="T90" fmla="*/ 24 w 156"/>
                <a:gd name="T91" fmla="*/ 18 h 84"/>
                <a:gd name="T92" fmla="*/ 18 w 156"/>
                <a:gd name="T93" fmla="*/ 24 h 84"/>
                <a:gd name="T94" fmla="*/ 6 w 156"/>
                <a:gd name="T95" fmla="*/ 18 h 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"/>
                <a:gd name="T145" fmla="*/ 0 h 84"/>
                <a:gd name="T146" fmla="*/ 156 w 156"/>
                <a:gd name="T147" fmla="*/ 84 h 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" h="84">
                  <a:moveTo>
                    <a:pt x="0" y="12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6" y="54"/>
                  </a:lnTo>
                  <a:lnTo>
                    <a:pt x="66" y="60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3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2575" y="2136"/>
              <a:ext cx="806" cy="796"/>
            </a:xfrm>
            <a:custGeom>
              <a:avLst/>
              <a:gdLst>
                <a:gd name="T0" fmla="*/ 36 w 948"/>
                <a:gd name="T1" fmla="*/ 504 h 936"/>
                <a:gd name="T2" fmla="*/ 78 w 948"/>
                <a:gd name="T3" fmla="*/ 486 h 936"/>
                <a:gd name="T4" fmla="*/ 102 w 948"/>
                <a:gd name="T5" fmla="*/ 492 h 936"/>
                <a:gd name="T6" fmla="*/ 144 w 948"/>
                <a:gd name="T7" fmla="*/ 492 h 936"/>
                <a:gd name="T8" fmla="*/ 192 w 948"/>
                <a:gd name="T9" fmla="*/ 438 h 936"/>
                <a:gd name="T10" fmla="*/ 204 w 948"/>
                <a:gd name="T11" fmla="*/ 372 h 936"/>
                <a:gd name="T12" fmla="*/ 252 w 948"/>
                <a:gd name="T13" fmla="*/ 318 h 936"/>
                <a:gd name="T14" fmla="*/ 276 w 948"/>
                <a:gd name="T15" fmla="*/ 252 h 936"/>
                <a:gd name="T16" fmla="*/ 288 w 948"/>
                <a:gd name="T17" fmla="*/ 192 h 936"/>
                <a:gd name="T18" fmla="*/ 306 w 948"/>
                <a:gd name="T19" fmla="*/ 120 h 936"/>
                <a:gd name="T20" fmla="*/ 318 w 948"/>
                <a:gd name="T21" fmla="*/ 60 h 936"/>
                <a:gd name="T22" fmla="*/ 354 w 948"/>
                <a:gd name="T23" fmla="*/ 18 h 936"/>
                <a:gd name="T24" fmla="*/ 408 w 948"/>
                <a:gd name="T25" fmla="*/ 36 h 936"/>
                <a:gd name="T26" fmla="*/ 474 w 948"/>
                <a:gd name="T27" fmla="*/ 54 h 936"/>
                <a:gd name="T28" fmla="*/ 516 w 948"/>
                <a:gd name="T29" fmla="*/ 42 h 936"/>
                <a:gd name="T30" fmla="*/ 546 w 948"/>
                <a:gd name="T31" fmla="*/ 36 h 936"/>
                <a:gd name="T32" fmla="*/ 594 w 948"/>
                <a:gd name="T33" fmla="*/ 18 h 936"/>
                <a:gd name="T34" fmla="*/ 618 w 948"/>
                <a:gd name="T35" fmla="*/ 24 h 936"/>
                <a:gd name="T36" fmla="*/ 654 w 948"/>
                <a:gd name="T37" fmla="*/ 6 h 936"/>
                <a:gd name="T38" fmla="*/ 678 w 948"/>
                <a:gd name="T39" fmla="*/ 12 h 936"/>
                <a:gd name="T40" fmla="*/ 708 w 948"/>
                <a:gd name="T41" fmla="*/ 18 h 936"/>
                <a:gd name="T42" fmla="*/ 726 w 948"/>
                <a:gd name="T43" fmla="*/ 18 h 936"/>
                <a:gd name="T44" fmla="*/ 774 w 948"/>
                <a:gd name="T45" fmla="*/ 36 h 936"/>
                <a:gd name="T46" fmla="*/ 810 w 948"/>
                <a:gd name="T47" fmla="*/ 54 h 936"/>
                <a:gd name="T48" fmla="*/ 834 w 948"/>
                <a:gd name="T49" fmla="*/ 48 h 936"/>
                <a:gd name="T50" fmla="*/ 870 w 948"/>
                <a:gd name="T51" fmla="*/ 42 h 936"/>
                <a:gd name="T52" fmla="*/ 912 w 948"/>
                <a:gd name="T53" fmla="*/ 90 h 936"/>
                <a:gd name="T54" fmla="*/ 924 w 948"/>
                <a:gd name="T55" fmla="*/ 120 h 936"/>
                <a:gd name="T56" fmla="*/ 936 w 948"/>
                <a:gd name="T57" fmla="*/ 174 h 936"/>
                <a:gd name="T58" fmla="*/ 876 w 948"/>
                <a:gd name="T59" fmla="*/ 246 h 936"/>
                <a:gd name="T60" fmla="*/ 858 w 948"/>
                <a:gd name="T61" fmla="*/ 324 h 936"/>
                <a:gd name="T62" fmla="*/ 840 w 948"/>
                <a:gd name="T63" fmla="*/ 366 h 936"/>
                <a:gd name="T64" fmla="*/ 840 w 948"/>
                <a:gd name="T65" fmla="*/ 420 h 936"/>
                <a:gd name="T66" fmla="*/ 846 w 948"/>
                <a:gd name="T67" fmla="*/ 456 h 936"/>
                <a:gd name="T68" fmla="*/ 858 w 948"/>
                <a:gd name="T69" fmla="*/ 534 h 936"/>
                <a:gd name="T70" fmla="*/ 888 w 948"/>
                <a:gd name="T71" fmla="*/ 612 h 936"/>
                <a:gd name="T72" fmla="*/ 882 w 948"/>
                <a:gd name="T73" fmla="*/ 678 h 936"/>
                <a:gd name="T74" fmla="*/ 804 w 948"/>
                <a:gd name="T75" fmla="*/ 738 h 936"/>
                <a:gd name="T76" fmla="*/ 816 w 948"/>
                <a:gd name="T77" fmla="*/ 774 h 936"/>
                <a:gd name="T78" fmla="*/ 810 w 948"/>
                <a:gd name="T79" fmla="*/ 822 h 936"/>
                <a:gd name="T80" fmla="*/ 822 w 948"/>
                <a:gd name="T81" fmla="*/ 870 h 936"/>
                <a:gd name="T82" fmla="*/ 870 w 948"/>
                <a:gd name="T83" fmla="*/ 870 h 936"/>
                <a:gd name="T84" fmla="*/ 834 w 948"/>
                <a:gd name="T85" fmla="*/ 930 h 936"/>
                <a:gd name="T86" fmla="*/ 804 w 948"/>
                <a:gd name="T87" fmla="*/ 888 h 936"/>
                <a:gd name="T88" fmla="*/ 750 w 948"/>
                <a:gd name="T89" fmla="*/ 858 h 936"/>
                <a:gd name="T90" fmla="*/ 708 w 948"/>
                <a:gd name="T91" fmla="*/ 864 h 936"/>
                <a:gd name="T92" fmla="*/ 660 w 948"/>
                <a:gd name="T93" fmla="*/ 846 h 936"/>
                <a:gd name="T94" fmla="*/ 612 w 948"/>
                <a:gd name="T95" fmla="*/ 834 h 936"/>
                <a:gd name="T96" fmla="*/ 582 w 948"/>
                <a:gd name="T97" fmla="*/ 810 h 936"/>
                <a:gd name="T98" fmla="*/ 528 w 948"/>
                <a:gd name="T99" fmla="*/ 816 h 936"/>
                <a:gd name="T100" fmla="*/ 498 w 948"/>
                <a:gd name="T101" fmla="*/ 804 h 936"/>
                <a:gd name="T102" fmla="*/ 480 w 948"/>
                <a:gd name="T103" fmla="*/ 750 h 936"/>
                <a:gd name="T104" fmla="*/ 480 w 948"/>
                <a:gd name="T105" fmla="*/ 690 h 936"/>
                <a:gd name="T106" fmla="*/ 480 w 948"/>
                <a:gd name="T107" fmla="*/ 636 h 936"/>
                <a:gd name="T108" fmla="*/ 360 w 948"/>
                <a:gd name="T109" fmla="*/ 624 h 936"/>
                <a:gd name="T110" fmla="*/ 306 w 948"/>
                <a:gd name="T111" fmla="*/ 666 h 936"/>
                <a:gd name="T112" fmla="*/ 258 w 948"/>
                <a:gd name="T113" fmla="*/ 654 h 936"/>
                <a:gd name="T114" fmla="*/ 228 w 948"/>
                <a:gd name="T115" fmla="*/ 606 h 936"/>
                <a:gd name="T116" fmla="*/ 180 w 948"/>
                <a:gd name="T117" fmla="*/ 558 h 936"/>
                <a:gd name="T118" fmla="*/ 78 w 948"/>
                <a:gd name="T119" fmla="*/ 558 h 936"/>
                <a:gd name="T120" fmla="*/ 12 w 948"/>
                <a:gd name="T121" fmla="*/ 570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8"/>
                <a:gd name="T184" fmla="*/ 0 h 936"/>
                <a:gd name="T185" fmla="*/ 948 w 948"/>
                <a:gd name="T186" fmla="*/ 936 h 9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3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2978" y="1387"/>
              <a:ext cx="709" cy="831"/>
            </a:xfrm>
            <a:custGeom>
              <a:avLst/>
              <a:gdLst>
                <a:gd name="T0" fmla="*/ 480 w 834"/>
                <a:gd name="T1" fmla="*/ 54 h 978"/>
                <a:gd name="T2" fmla="*/ 690 w 834"/>
                <a:gd name="T3" fmla="*/ 0 h 978"/>
                <a:gd name="T4" fmla="*/ 696 w 834"/>
                <a:gd name="T5" fmla="*/ 18 h 978"/>
                <a:gd name="T6" fmla="*/ 738 w 834"/>
                <a:gd name="T7" fmla="*/ 48 h 978"/>
                <a:gd name="T8" fmla="*/ 750 w 834"/>
                <a:gd name="T9" fmla="*/ 84 h 978"/>
                <a:gd name="T10" fmla="*/ 768 w 834"/>
                <a:gd name="T11" fmla="*/ 102 h 978"/>
                <a:gd name="T12" fmla="*/ 762 w 834"/>
                <a:gd name="T13" fmla="*/ 132 h 978"/>
                <a:gd name="T14" fmla="*/ 768 w 834"/>
                <a:gd name="T15" fmla="*/ 156 h 978"/>
                <a:gd name="T16" fmla="*/ 774 w 834"/>
                <a:gd name="T17" fmla="*/ 192 h 978"/>
                <a:gd name="T18" fmla="*/ 780 w 834"/>
                <a:gd name="T19" fmla="*/ 222 h 978"/>
                <a:gd name="T20" fmla="*/ 810 w 834"/>
                <a:gd name="T21" fmla="*/ 234 h 978"/>
                <a:gd name="T22" fmla="*/ 822 w 834"/>
                <a:gd name="T23" fmla="*/ 246 h 978"/>
                <a:gd name="T24" fmla="*/ 810 w 834"/>
                <a:gd name="T25" fmla="*/ 276 h 978"/>
                <a:gd name="T26" fmla="*/ 780 w 834"/>
                <a:gd name="T27" fmla="*/ 294 h 978"/>
                <a:gd name="T28" fmla="*/ 750 w 834"/>
                <a:gd name="T29" fmla="*/ 324 h 978"/>
                <a:gd name="T30" fmla="*/ 744 w 834"/>
                <a:gd name="T31" fmla="*/ 360 h 978"/>
                <a:gd name="T32" fmla="*/ 732 w 834"/>
                <a:gd name="T33" fmla="*/ 414 h 978"/>
                <a:gd name="T34" fmla="*/ 726 w 834"/>
                <a:gd name="T35" fmla="*/ 468 h 978"/>
                <a:gd name="T36" fmla="*/ 714 w 834"/>
                <a:gd name="T37" fmla="*/ 516 h 978"/>
                <a:gd name="T38" fmla="*/ 672 w 834"/>
                <a:gd name="T39" fmla="*/ 552 h 978"/>
                <a:gd name="T40" fmla="*/ 654 w 834"/>
                <a:gd name="T41" fmla="*/ 606 h 978"/>
                <a:gd name="T42" fmla="*/ 624 w 834"/>
                <a:gd name="T43" fmla="*/ 618 h 978"/>
                <a:gd name="T44" fmla="*/ 618 w 834"/>
                <a:gd name="T45" fmla="*/ 660 h 978"/>
                <a:gd name="T46" fmla="*/ 600 w 834"/>
                <a:gd name="T47" fmla="*/ 726 h 978"/>
                <a:gd name="T48" fmla="*/ 564 w 834"/>
                <a:gd name="T49" fmla="*/ 732 h 978"/>
                <a:gd name="T50" fmla="*/ 558 w 834"/>
                <a:gd name="T51" fmla="*/ 762 h 978"/>
                <a:gd name="T52" fmla="*/ 594 w 834"/>
                <a:gd name="T53" fmla="*/ 768 h 978"/>
                <a:gd name="T54" fmla="*/ 618 w 834"/>
                <a:gd name="T55" fmla="*/ 798 h 978"/>
                <a:gd name="T56" fmla="*/ 642 w 834"/>
                <a:gd name="T57" fmla="*/ 816 h 978"/>
                <a:gd name="T58" fmla="*/ 654 w 834"/>
                <a:gd name="T59" fmla="*/ 852 h 978"/>
                <a:gd name="T60" fmla="*/ 696 w 834"/>
                <a:gd name="T61" fmla="*/ 888 h 978"/>
                <a:gd name="T62" fmla="*/ 678 w 834"/>
                <a:gd name="T63" fmla="*/ 918 h 978"/>
                <a:gd name="T64" fmla="*/ 636 w 834"/>
                <a:gd name="T65" fmla="*/ 912 h 978"/>
                <a:gd name="T66" fmla="*/ 552 w 834"/>
                <a:gd name="T67" fmla="*/ 960 h 978"/>
                <a:gd name="T68" fmla="*/ 492 w 834"/>
                <a:gd name="T69" fmla="*/ 966 h 978"/>
                <a:gd name="T70" fmla="*/ 450 w 834"/>
                <a:gd name="T71" fmla="*/ 972 h 978"/>
                <a:gd name="T72" fmla="*/ 432 w 834"/>
                <a:gd name="T73" fmla="*/ 954 h 978"/>
                <a:gd name="T74" fmla="*/ 402 w 834"/>
                <a:gd name="T75" fmla="*/ 924 h 978"/>
                <a:gd name="T76" fmla="*/ 366 w 834"/>
                <a:gd name="T77" fmla="*/ 936 h 978"/>
                <a:gd name="T78" fmla="*/ 348 w 834"/>
                <a:gd name="T79" fmla="*/ 930 h 978"/>
                <a:gd name="T80" fmla="*/ 312 w 834"/>
                <a:gd name="T81" fmla="*/ 930 h 978"/>
                <a:gd name="T82" fmla="*/ 294 w 834"/>
                <a:gd name="T83" fmla="*/ 912 h 978"/>
                <a:gd name="T84" fmla="*/ 270 w 834"/>
                <a:gd name="T85" fmla="*/ 870 h 978"/>
                <a:gd name="T86" fmla="*/ 234 w 834"/>
                <a:gd name="T87" fmla="*/ 846 h 978"/>
                <a:gd name="T88" fmla="*/ 216 w 834"/>
                <a:gd name="T89" fmla="*/ 810 h 978"/>
                <a:gd name="T90" fmla="*/ 186 w 834"/>
                <a:gd name="T91" fmla="*/ 792 h 978"/>
                <a:gd name="T92" fmla="*/ 168 w 834"/>
                <a:gd name="T93" fmla="*/ 756 h 978"/>
                <a:gd name="T94" fmla="*/ 132 w 834"/>
                <a:gd name="T95" fmla="*/ 738 h 978"/>
                <a:gd name="T96" fmla="*/ 114 w 834"/>
                <a:gd name="T97" fmla="*/ 720 h 978"/>
                <a:gd name="T98" fmla="*/ 84 w 834"/>
                <a:gd name="T99" fmla="*/ 702 h 978"/>
                <a:gd name="T100" fmla="*/ 96 w 834"/>
                <a:gd name="T101" fmla="*/ 660 h 978"/>
                <a:gd name="T102" fmla="*/ 60 w 834"/>
                <a:gd name="T103" fmla="*/ 600 h 978"/>
                <a:gd name="T104" fmla="*/ 36 w 834"/>
                <a:gd name="T105" fmla="*/ 546 h 978"/>
                <a:gd name="T106" fmla="*/ 12 w 834"/>
                <a:gd name="T107" fmla="*/ 522 h 978"/>
                <a:gd name="T108" fmla="*/ 18 w 834"/>
                <a:gd name="T109" fmla="*/ 492 h 978"/>
                <a:gd name="T110" fmla="*/ 30 w 834"/>
                <a:gd name="T111" fmla="*/ 450 h 978"/>
                <a:gd name="T112" fmla="*/ 36 w 834"/>
                <a:gd name="T113" fmla="*/ 420 h 978"/>
                <a:gd name="T114" fmla="*/ 60 w 834"/>
                <a:gd name="T115" fmla="*/ 396 h 978"/>
                <a:gd name="T116" fmla="*/ 72 w 834"/>
                <a:gd name="T117" fmla="*/ 372 h 978"/>
                <a:gd name="T118" fmla="*/ 108 w 834"/>
                <a:gd name="T119" fmla="*/ 180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34"/>
                <a:gd name="T181" fmla="*/ 0 h 978"/>
                <a:gd name="T182" fmla="*/ 834 w 834"/>
                <a:gd name="T183" fmla="*/ 978 h 9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33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3100" y="1025"/>
              <a:ext cx="469" cy="423"/>
            </a:xfrm>
            <a:custGeom>
              <a:avLst/>
              <a:gdLst>
                <a:gd name="T0" fmla="*/ 60 w 552"/>
                <a:gd name="T1" fmla="*/ 6 h 498"/>
                <a:gd name="T2" fmla="*/ 102 w 552"/>
                <a:gd name="T3" fmla="*/ 12 h 498"/>
                <a:gd name="T4" fmla="*/ 132 w 552"/>
                <a:gd name="T5" fmla="*/ 24 h 498"/>
                <a:gd name="T6" fmla="*/ 174 w 552"/>
                <a:gd name="T7" fmla="*/ 30 h 498"/>
                <a:gd name="T8" fmla="*/ 204 w 552"/>
                <a:gd name="T9" fmla="*/ 42 h 498"/>
                <a:gd name="T10" fmla="*/ 246 w 552"/>
                <a:gd name="T11" fmla="*/ 30 h 498"/>
                <a:gd name="T12" fmla="*/ 270 w 552"/>
                <a:gd name="T13" fmla="*/ 24 h 498"/>
                <a:gd name="T14" fmla="*/ 306 w 552"/>
                <a:gd name="T15" fmla="*/ 6 h 498"/>
                <a:gd name="T16" fmla="*/ 294 w 552"/>
                <a:gd name="T17" fmla="*/ 18 h 498"/>
                <a:gd name="T18" fmla="*/ 318 w 552"/>
                <a:gd name="T19" fmla="*/ 6 h 498"/>
                <a:gd name="T20" fmla="*/ 348 w 552"/>
                <a:gd name="T21" fmla="*/ 12 h 498"/>
                <a:gd name="T22" fmla="*/ 372 w 552"/>
                <a:gd name="T23" fmla="*/ 18 h 498"/>
                <a:gd name="T24" fmla="*/ 354 w 552"/>
                <a:gd name="T25" fmla="*/ 6 h 498"/>
                <a:gd name="T26" fmla="*/ 354 w 552"/>
                <a:gd name="T27" fmla="*/ 18 h 498"/>
                <a:gd name="T28" fmla="*/ 366 w 552"/>
                <a:gd name="T29" fmla="*/ 24 h 498"/>
                <a:gd name="T30" fmla="*/ 372 w 552"/>
                <a:gd name="T31" fmla="*/ 30 h 498"/>
                <a:gd name="T32" fmla="*/ 378 w 552"/>
                <a:gd name="T33" fmla="*/ 30 h 498"/>
                <a:gd name="T34" fmla="*/ 402 w 552"/>
                <a:gd name="T35" fmla="*/ 30 h 498"/>
                <a:gd name="T36" fmla="*/ 414 w 552"/>
                <a:gd name="T37" fmla="*/ 30 h 498"/>
                <a:gd name="T38" fmla="*/ 420 w 552"/>
                <a:gd name="T39" fmla="*/ 36 h 498"/>
                <a:gd name="T40" fmla="*/ 432 w 552"/>
                <a:gd name="T41" fmla="*/ 30 h 498"/>
                <a:gd name="T42" fmla="*/ 468 w 552"/>
                <a:gd name="T43" fmla="*/ 24 h 498"/>
                <a:gd name="T44" fmla="*/ 492 w 552"/>
                <a:gd name="T45" fmla="*/ 60 h 498"/>
                <a:gd name="T46" fmla="*/ 510 w 552"/>
                <a:gd name="T47" fmla="*/ 108 h 498"/>
                <a:gd name="T48" fmla="*/ 498 w 552"/>
                <a:gd name="T49" fmla="*/ 138 h 498"/>
                <a:gd name="T50" fmla="*/ 486 w 552"/>
                <a:gd name="T51" fmla="*/ 168 h 498"/>
                <a:gd name="T52" fmla="*/ 474 w 552"/>
                <a:gd name="T53" fmla="*/ 192 h 498"/>
                <a:gd name="T54" fmla="*/ 450 w 552"/>
                <a:gd name="T55" fmla="*/ 180 h 498"/>
                <a:gd name="T56" fmla="*/ 426 w 552"/>
                <a:gd name="T57" fmla="*/ 156 h 498"/>
                <a:gd name="T58" fmla="*/ 420 w 552"/>
                <a:gd name="T59" fmla="*/ 132 h 498"/>
                <a:gd name="T60" fmla="*/ 402 w 552"/>
                <a:gd name="T61" fmla="*/ 108 h 498"/>
                <a:gd name="T62" fmla="*/ 396 w 552"/>
                <a:gd name="T63" fmla="*/ 96 h 498"/>
                <a:gd name="T64" fmla="*/ 390 w 552"/>
                <a:gd name="T65" fmla="*/ 96 h 498"/>
                <a:gd name="T66" fmla="*/ 390 w 552"/>
                <a:gd name="T67" fmla="*/ 120 h 498"/>
                <a:gd name="T68" fmla="*/ 402 w 552"/>
                <a:gd name="T69" fmla="*/ 150 h 498"/>
                <a:gd name="T70" fmla="*/ 420 w 552"/>
                <a:gd name="T71" fmla="*/ 174 h 498"/>
                <a:gd name="T72" fmla="*/ 438 w 552"/>
                <a:gd name="T73" fmla="*/ 192 h 498"/>
                <a:gd name="T74" fmla="*/ 438 w 552"/>
                <a:gd name="T75" fmla="*/ 198 h 498"/>
                <a:gd name="T76" fmla="*/ 450 w 552"/>
                <a:gd name="T77" fmla="*/ 216 h 498"/>
                <a:gd name="T78" fmla="*/ 462 w 552"/>
                <a:gd name="T79" fmla="*/ 234 h 498"/>
                <a:gd name="T80" fmla="*/ 474 w 552"/>
                <a:gd name="T81" fmla="*/ 270 h 498"/>
                <a:gd name="T82" fmla="*/ 492 w 552"/>
                <a:gd name="T83" fmla="*/ 300 h 498"/>
                <a:gd name="T84" fmla="*/ 504 w 552"/>
                <a:gd name="T85" fmla="*/ 330 h 498"/>
                <a:gd name="T86" fmla="*/ 522 w 552"/>
                <a:gd name="T87" fmla="*/ 354 h 498"/>
                <a:gd name="T88" fmla="*/ 540 w 552"/>
                <a:gd name="T89" fmla="*/ 378 h 498"/>
                <a:gd name="T90" fmla="*/ 546 w 552"/>
                <a:gd name="T91" fmla="*/ 390 h 498"/>
                <a:gd name="T92" fmla="*/ 534 w 552"/>
                <a:gd name="T93" fmla="*/ 396 h 498"/>
                <a:gd name="T94" fmla="*/ 540 w 552"/>
                <a:gd name="T95" fmla="*/ 408 h 498"/>
                <a:gd name="T96" fmla="*/ 510 w 552"/>
                <a:gd name="T97" fmla="*/ 438 h 498"/>
                <a:gd name="T98" fmla="*/ 360 w 552"/>
                <a:gd name="T99" fmla="*/ 480 h 498"/>
                <a:gd name="T100" fmla="*/ 18 w 552"/>
                <a:gd name="T101" fmla="*/ 480 h 498"/>
                <a:gd name="T102" fmla="*/ 12 w 552"/>
                <a:gd name="T103" fmla="*/ 102 h 498"/>
                <a:gd name="T104" fmla="*/ 12 w 552"/>
                <a:gd name="T105" fmla="*/ 60 h 498"/>
                <a:gd name="T106" fmla="*/ 12 w 552"/>
                <a:gd name="T107" fmla="*/ 24 h 498"/>
                <a:gd name="T108" fmla="*/ 24 w 552"/>
                <a:gd name="T109" fmla="*/ 6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498"/>
                <a:gd name="T167" fmla="*/ 552 w 552"/>
                <a:gd name="T168" fmla="*/ 498 h 49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34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595" y="1606"/>
              <a:ext cx="285" cy="235"/>
            </a:xfrm>
            <a:custGeom>
              <a:avLst/>
              <a:gdLst>
                <a:gd name="T0" fmla="*/ 120 w 336"/>
                <a:gd name="T1" fmla="*/ 12 h 276"/>
                <a:gd name="T2" fmla="*/ 126 w 336"/>
                <a:gd name="T3" fmla="*/ 30 h 276"/>
                <a:gd name="T4" fmla="*/ 132 w 336"/>
                <a:gd name="T5" fmla="*/ 48 h 276"/>
                <a:gd name="T6" fmla="*/ 132 w 336"/>
                <a:gd name="T7" fmla="*/ 60 h 276"/>
                <a:gd name="T8" fmla="*/ 138 w 336"/>
                <a:gd name="T9" fmla="*/ 66 h 276"/>
                <a:gd name="T10" fmla="*/ 138 w 336"/>
                <a:gd name="T11" fmla="*/ 90 h 276"/>
                <a:gd name="T12" fmla="*/ 150 w 336"/>
                <a:gd name="T13" fmla="*/ 114 h 276"/>
                <a:gd name="T14" fmla="*/ 162 w 336"/>
                <a:gd name="T15" fmla="*/ 126 h 276"/>
                <a:gd name="T16" fmla="*/ 168 w 336"/>
                <a:gd name="T17" fmla="*/ 144 h 276"/>
                <a:gd name="T18" fmla="*/ 168 w 336"/>
                <a:gd name="T19" fmla="*/ 126 h 276"/>
                <a:gd name="T20" fmla="*/ 174 w 336"/>
                <a:gd name="T21" fmla="*/ 126 h 276"/>
                <a:gd name="T22" fmla="*/ 186 w 336"/>
                <a:gd name="T23" fmla="*/ 138 h 276"/>
                <a:gd name="T24" fmla="*/ 186 w 336"/>
                <a:gd name="T25" fmla="*/ 150 h 276"/>
                <a:gd name="T26" fmla="*/ 198 w 336"/>
                <a:gd name="T27" fmla="*/ 150 h 276"/>
                <a:gd name="T28" fmla="*/ 204 w 336"/>
                <a:gd name="T29" fmla="*/ 144 h 276"/>
                <a:gd name="T30" fmla="*/ 204 w 336"/>
                <a:gd name="T31" fmla="*/ 144 h 276"/>
                <a:gd name="T32" fmla="*/ 210 w 336"/>
                <a:gd name="T33" fmla="*/ 150 h 276"/>
                <a:gd name="T34" fmla="*/ 228 w 336"/>
                <a:gd name="T35" fmla="*/ 162 h 276"/>
                <a:gd name="T36" fmla="*/ 246 w 336"/>
                <a:gd name="T37" fmla="*/ 174 h 276"/>
                <a:gd name="T38" fmla="*/ 258 w 336"/>
                <a:gd name="T39" fmla="*/ 198 h 276"/>
                <a:gd name="T40" fmla="*/ 270 w 336"/>
                <a:gd name="T41" fmla="*/ 204 h 276"/>
                <a:gd name="T42" fmla="*/ 282 w 336"/>
                <a:gd name="T43" fmla="*/ 216 h 276"/>
                <a:gd name="T44" fmla="*/ 294 w 336"/>
                <a:gd name="T45" fmla="*/ 216 h 276"/>
                <a:gd name="T46" fmla="*/ 300 w 336"/>
                <a:gd name="T47" fmla="*/ 234 h 276"/>
                <a:gd name="T48" fmla="*/ 312 w 336"/>
                <a:gd name="T49" fmla="*/ 246 h 276"/>
                <a:gd name="T50" fmla="*/ 318 w 336"/>
                <a:gd name="T51" fmla="*/ 252 h 276"/>
                <a:gd name="T52" fmla="*/ 324 w 336"/>
                <a:gd name="T53" fmla="*/ 252 h 276"/>
                <a:gd name="T54" fmla="*/ 330 w 336"/>
                <a:gd name="T55" fmla="*/ 258 h 276"/>
                <a:gd name="T56" fmla="*/ 318 w 336"/>
                <a:gd name="T57" fmla="*/ 264 h 276"/>
                <a:gd name="T58" fmla="*/ 306 w 336"/>
                <a:gd name="T59" fmla="*/ 270 h 276"/>
                <a:gd name="T60" fmla="*/ 288 w 336"/>
                <a:gd name="T61" fmla="*/ 258 h 276"/>
                <a:gd name="T62" fmla="*/ 276 w 336"/>
                <a:gd name="T63" fmla="*/ 246 h 276"/>
                <a:gd name="T64" fmla="*/ 246 w 336"/>
                <a:gd name="T65" fmla="*/ 216 h 276"/>
                <a:gd name="T66" fmla="*/ 228 w 336"/>
                <a:gd name="T67" fmla="*/ 198 h 276"/>
                <a:gd name="T68" fmla="*/ 210 w 336"/>
                <a:gd name="T69" fmla="*/ 186 h 276"/>
                <a:gd name="T70" fmla="*/ 186 w 336"/>
                <a:gd name="T71" fmla="*/ 174 h 276"/>
                <a:gd name="T72" fmla="*/ 162 w 336"/>
                <a:gd name="T73" fmla="*/ 174 h 276"/>
                <a:gd name="T74" fmla="*/ 150 w 336"/>
                <a:gd name="T75" fmla="*/ 174 h 276"/>
                <a:gd name="T76" fmla="*/ 132 w 336"/>
                <a:gd name="T77" fmla="*/ 162 h 276"/>
                <a:gd name="T78" fmla="*/ 120 w 336"/>
                <a:gd name="T79" fmla="*/ 174 h 276"/>
                <a:gd name="T80" fmla="*/ 96 w 336"/>
                <a:gd name="T81" fmla="*/ 174 h 276"/>
                <a:gd name="T82" fmla="*/ 84 w 336"/>
                <a:gd name="T83" fmla="*/ 162 h 276"/>
                <a:gd name="T84" fmla="*/ 60 w 336"/>
                <a:gd name="T85" fmla="*/ 192 h 276"/>
                <a:gd name="T86" fmla="*/ 48 w 336"/>
                <a:gd name="T87" fmla="*/ 180 h 276"/>
                <a:gd name="T88" fmla="*/ 36 w 336"/>
                <a:gd name="T89" fmla="*/ 180 h 276"/>
                <a:gd name="T90" fmla="*/ 24 w 336"/>
                <a:gd name="T91" fmla="*/ 180 h 276"/>
                <a:gd name="T92" fmla="*/ 6 w 336"/>
                <a:gd name="T93" fmla="*/ 174 h 276"/>
                <a:gd name="T94" fmla="*/ 0 w 336"/>
                <a:gd name="T95" fmla="*/ 144 h 276"/>
                <a:gd name="T96" fmla="*/ 12 w 336"/>
                <a:gd name="T97" fmla="*/ 126 h 276"/>
                <a:gd name="T98" fmla="*/ 18 w 336"/>
                <a:gd name="T99" fmla="*/ 102 h 276"/>
                <a:gd name="T100" fmla="*/ 30 w 336"/>
                <a:gd name="T101" fmla="*/ 84 h 276"/>
                <a:gd name="T102" fmla="*/ 30 w 336"/>
                <a:gd name="T103" fmla="*/ 72 h 276"/>
                <a:gd name="T104" fmla="*/ 30 w 336"/>
                <a:gd name="T105" fmla="*/ 60 h 276"/>
                <a:gd name="T106" fmla="*/ 36 w 336"/>
                <a:gd name="T107" fmla="*/ 42 h 276"/>
                <a:gd name="T108" fmla="*/ 54 w 336"/>
                <a:gd name="T109" fmla="*/ 36 h 276"/>
                <a:gd name="T110" fmla="*/ 66 w 336"/>
                <a:gd name="T111" fmla="*/ 24 h 276"/>
                <a:gd name="T112" fmla="*/ 84 w 336"/>
                <a:gd name="T113" fmla="*/ 18 h 276"/>
                <a:gd name="T114" fmla="*/ 96 w 336"/>
                <a:gd name="T115" fmla="*/ 18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6"/>
                <a:gd name="T175" fmla="*/ 0 h 276"/>
                <a:gd name="T176" fmla="*/ 336 w 336"/>
                <a:gd name="T177" fmla="*/ 276 h 2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35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3304" y="2187"/>
              <a:ext cx="235" cy="240"/>
            </a:xfrm>
            <a:custGeom>
              <a:avLst/>
              <a:gdLst>
                <a:gd name="T0" fmla="*/ 72 w 276"/>
                <a:gd name="T1" fmla="*/ 30 h 282"/>
                <a:gd name="T2" fmla="*/ 78 w 276"/>
                <a:gd name="T3" fmla="*/ 18 h 282"/>
                <a:gd name="T4" fmla="*/ 102 w 276"/>
                <a:gd name="T5" fmla="*/ 24 h 282"/>
                <a:gd name="T6" fmla="*/ 114 w 276"/>
                <a:gd name="T7" fmla="*/ 18 h 282"/>
                <a:gd name="T8" fmla="*/ 120 w 276"/>
                <a:gd name="T9" fmla="*/ 30 h 282"/>
                <a:gd name="T10" fmla="*/ 144 w 276"/>
                <a:gd name="T11" fmla="*/ 24 h 282"/>
                <a:gd name="T12" fmla="*/ 174 w 276"/>
                <a:gd name="T13" fmla="*/ 12 h 282"/>
                <a:gd name="T14" fmla="*/ 210 w 276"/>
                <a:gd name="T15" fmla="*/ 6 h 282"/>
                <a:gd name="T16" fmla="*/ 228 w 276"/>
                <a:gd name="T17" fmla="*/ 6 h 282"/>
                <a:gd name="T18" fmla="*/ 234 w 276"/>
                <a:gd name="T19" fmla="*/ 12 h 282"/>
                <a:gd name="T20" fmla="*/ 234 w 276"/>
                <a:gd name="T21" fmla="*/ 18 h 282"/>
                <a:gd name="T22" fmla="*/ 234 w 276"/>
                <a:gd name="T23" fmla="*/ 24 h 282"/>
                <a:gd name="T24" fmla="*/ 246 w 276"/>
                <a:gd name="T25" fmla="*/ 30 h 282"/>
                <a:gd name="T26" fmla="*/ 246 w 276"/>
                <a:gd name="T27" fmla="*/ 36 h 282"/>
                <a:gd name="T28" fmla="*/ 246 w 276"/>
                <a:gd name="T29" fmla="*/ 42 h 282"/>
                <a:gd name="T30" fmla="*/ 252 w 276"/>
                <a:gd name="T31" fmla="*/ 54 h 282"/>
                <a:gd name="T32" fmla="*/ 258 w 276"/>
                <a:gd name="T33" fmla="*/ 66 h 282"/>
                <a:gd name="T34" fmla="*/ 270 w 276"/>
                <a:gd name="T35" fmla="*/ 84 h 282"/>
                <a:gd name="T36" fmla="*/ 270 w 276"/>
                <a:gd name="T37" fmla="*/ 108 h 282"/>
                <a:gd name="T38" fmla="*/ 270 w 276"/>
                <a:gd name="T39" fmla="*/ 132 h 282"/>
                <a:gd name="T40" fmla="*/ 258 w 276"/>
                <a:gd name="T41" fmla="*/ 138 h 282"/>
                <a:gd name="T42" fmla="*/ 258 w 276"/>
                <a:gd name="T43" fmla="*/ 144 h 282"/>
                <a:gd name="T44" fmla="*/ 246 w 276"/>
                <a:gd name="T45" fmla="*/ 150 h 282"/>
                <a:gd name="T46" fmla="*/ 246 w 276"/>
                <a:gd name="T47" fmla="*/ 168 h 282"/>
                <a:gd name="T48" fmla="*/ 234 w 276"/>
                <a:gd name="T49" fmla="*/ 174 h 282"/>
                <a:gd name="T50" fmla="*/ 228 w 276"/>
                <a:gd name="T51" fmla="*/ 192 h 282"/>
                <a:gd name="T52" fmla="*/ 222 w 276"/>
                <a:gd name="T53" fmla="*/ 204 h 282"/>
                <a:gd name="T54" fmla="*/ 216 w 276"/>
                <a:gd name="T55" fmla="*/ 228 h 282"/>
                <a:gd name="T56" fmla="*/ 102 w 276"/>
                <a:gd name="T57" fmla="*/ 258 h 282"/>
                <a:gd name="T58" fmla="*/ 66 w 276"/>
                <a:gd name="T59" fmla="*/ 258 h 282"/>
                <a:gd name="T60" fmla="*/ 48 w 276"/>
                <a:gd name="T61" fmla="*/ 258 h 282"/>
                <a:gd name="T62" fmla="*/ 36 w 276"/>
                <a:gd name="T63" fmla="*/ 264 h 282"/>
                <a:gd name="T64" fmla="*/ 30 w 276"/>
                <a:gd name="T65" fmla="*/ 276 h 282"/>
                <a:gd name="T66" fmla="*/ 18 w 276"/>
                <a:gd name="T67" fmla="*/ 282 h 282"/>
                <a:gd name="T68" fmla="*/ 12 w 276"/>
                <a:gd name="T69" fmla="*/ 270 h 282"/>
                <a:gd name="T70" fmla="*/ 6 w 276"/>
                <a:gd name="T71" fmla="*/ 270 h 282"/>
                <a:gd name="T72" fmla="*/ 0 w 276"/>
                <a:gd name="T73" fmla="*/ 264 h 282"/>
                <a:gd name="T74" fmla="*/ 6 w 276"/>
                <a:gd name="T75" fmla="*/ 252 h 282"/>
                <a:gd name="T76" fmla="*/ 6 w 276"/>
                <a:gd name="T77" fmla="*/ 234 h 282"/>
                <a:gd name="T78" fmla="*/ 12 w 276"/>
                <a:gd name="T79" fmla="*/ 204 h 282"/>
                <a:gd name="T80" fmla="*/ 18 w 276"/>
                <a:gd name="T81" fmla="*/ 192 h 282"/>
                <a:gd name="T82" fmla="*/ 24 w 276"/>
                <a:gd name="T83" fmla="*/ 174 h 282"/>
                <a:gd name="T84" fmla="*/ 30 w 276"/>
                <a:gd name="T85" fmla="*/ 162 h 282"/>
                <a:gd name="T86" fmla="*/ 36 w 276"/>
                <a:gd name="T87" fmla="*/ 150 h 282"/>
                <a:gd name="T88" fmla="*/ 60 w 276"/>
                <a:gd name="T89" fmla="*/ 132 h 282"/>
                <a:gd name="T90" fmla="*/ 84 w 276"/>
                <a:gd name="T91" fmla="*/ 108 h 282"/>
                <a:gd name="T92" fmla="*/ 78 w 276"/>
                <a:gd name="T93" fmla="*/ 96 h 282"/>
                <a:gd name="T94" fmla="*/ 66 w 276"/>
                <a:gd name="T95" fmla="*/ 90 h 282"/>
                <a:gd name="T96" fmla="*/ 60 w 276"/>
                <a:gd name="T97" fmla="*/ 78 h 282"/>
                <a:gd name="T98" fmla="*/ 66 w 276"/>
                <a:gd name="T99" fmla="*/ 60 h 282"/>
                <a:gd name="T100" fmla="*/ 66 w 276"/>
                <a:gd name="T101" fmla="*/ 48 h 282"/>
                <a:gd name="T102" fmla="*/ 66 w 276"/>
                <a:gd name="T103" fmla="*/ 36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6"/>
                <a:gd name="T157" fmla="*/ 0 h 282"/>
                <a:gd name="T158" fmla="*/ 276 w 27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36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3452" y="1734"/>
              <a:ext cx="633" cy="484"/>
            </a:xfrm>
            <a:custGeom>
              <a:avLst/>
              <a:gdLst>
                <a:gd name="T0" fmla="*/ 186 w 744"/>
                <a:gd name="T1" fmla="*/ 30 h 570"/>
                <a:gd name="T2" fmla="*/ 204 w 744"/>
                <a:gd name="T3" fmla="*/ 24 h 570"/>
                <a:gd name="T4" fmla="*/ 222 w 744"/>
                <a:gd name="T5" fmla="*/ 42 h 570"/>
                <a:gd name="T6" fmla="*/ 258 w 744"/>
                <a:gd name="T7" fmla="*/ 12 h 570"/>
                <a:gd name="T8" fmla="*/ 282 w 744"/>
                <a:gd name="T9" fmla="*/ 24 h 570"/>
                <a:gd name="T10" fmla="*/ 306 w 744"/>
                <a:gd name="T11" fmla="*/ 18 h 570"/>
                <a:gd name="T12" fmla="*/ 330 w 744"/>
                <a:gd name="T13" fmla="*/ 18 h 570"/>
                <a:gd name="T14" fmla="*/ 360 w 744"/>
                <a:gd name="T15" fmla="*/ 24 h 570"/>
                <a:gd name="T16" fmla="*/ 390 w 744"/>
                <a:gd name="T17" fmla="*/ 42 h 570"/>
                <a:gd name="T18" fmla="*/ 432 w 744"/>
                <a:gd name="T19" fmla="*/ 84 h 570"/>
                <a:gd name="T20" fmla="*/ 450 w 744"/>
                <a:gd name="T21" fmla="*/ 108 h 570"/>
                <a:gd name="T22" fmla="*/ 462 w 744"/>
                <a:gd name="T23" fmla="*/ 132 h 570"/>
                <a:gd name="T24" fmla="*/ 438 w 744"/>
                <a:gd name="T25" fmla="*/ 156 h 570"/>
                <a:gd name="T26" fmla="*/ 438 w 744"/>
                <a:gd name="T27" fmla="*/ 192 h 570"/>
                <a:gd name="T28" fmla="*/ 468 w 744"/>
                <a:gd name="T29" fmla="*/ 198 h 570"/>
                <a:gd name="T30" fmla="*/ 492 w 744"/>
                <a:gd name="T31" fmla="*/ 198 h 570"/>
                <a:gd name="T32" fmla="*/ 486 w 744"/>
                <a:gd name="T33" fmla="*/ 228 h 570"/>
                <a:gd name="T34" fmla="*/ 510 w 744"/>
                <a:gd name="T35" fmla="*/ 252 h 570"/>
                <a:gd name="T36" fmla="*/ 540 w 744"/>
                <a:gd name="T37" fmla="*/ 288 h 570"/>
                <a:gd name="T38" fmla="*/ 648 w 744"/>
                <a:gd name="T39" fmla="*/ 330 h 570"/>
                <a:gd name="T40" fmla="*/ 594 w 744"/>
                <a:gd name="T41" fmla="*/ 498 h 570"/>
                <a:gd name="T42" fmla="*/ 498 w 744"/>
                <a:gd name="T43" fmla="*/ 516 h 570"/>
                <a:gd name="T44" fmla="*/ 474 w 744"/>
                <a:gd name="T45" fmla="*/ 534 h 570"/>
                <a:gd name="T46" fmla="*/ 444 w 744"/>
                <a:gd name="T47" fmla="*/ 546 h 570"/>
                <a:gd name="T48" fmla="*/ 408 w 744"/>
                <a:gd name="T49" fmla="*/ 546 h 570"/>
                <a:gd name="T50" fmla="*/ 390 w 744"/>
                <a:gd name="T51" fmla="*/ 528 h 570"/>
                <a:gd name="T52" fmla="*/ 354 w 744"/>
                <a:gd name="T53" fmla="*/ 540 h 570"/>
                <a:gd name="T54" fmla="*/ 318 w 744"/>
                <a:gd name="T55" fmla="*/ 570 h 570"/>
                <a:gd name="T56" fmla="*/ 288 w 744"/>
                <a:gd name="T57" fmla="*/ 564 h 570"/>
                <a:gd name="T58" fmla="*/ 252 w 744"/>
                <a:gd name="T59" fmla="*/ 564 h 570"/>
                <a:gd name="T60" fmla="*/ 198 w 744"/>
                <a:gd name="T61" fmla="*/ 528 h 570"/>
                <a:gd name="T62" fmla="*/ 156 w 744"/>
                <a:gd name="T63" fmla="*/ 522 h 570"/>
                <a:gd name="T64" fmla="*/ 144 w 744"/>
                <a:gd name="T65" fmla="*/ 486 h 570"/>
                <a:gd name="T66" fmla="*/ 132 w 744"/>
                <a:gd name="T67" fmla="*/ 474 h 570"/>
                <a:gd name="T68" fmla="*/ 102 w 744"/>
                <a:gd name="T69" fmla="*/ 456 h 570"/>
                <a:gd name="T70" fmla="*/ 96 w 744"/>
                <a:gd name="T71" fmla="*/ 420 h 570"/>
                <a:gd name="T72" fmla="*/ 84 w 744"/>
                <a:gd name="T73" fmla="*/ 408 h 570"/>
                <a:gd name="T74" fmla="*/ 72 w 744"/>
                <a:gd name="T75" fmla="*/ 402 h 570"/>
                <a:gd name="T76" fmla="*/ 48 w 744"/>
                <a:gd name="T77" fmla="*/ 384 h 570"/>
                <a:gd name="T78" fmla="*/ 36 w 744"/>
                <a:gd name="T79" fmla="*/ 360 h 570"/>
                <a:gd name="T80" fmla="*/ 24 w 744"/>
                <a:gd name="T81" fmla="*/ 360 h 570"/>
                <a:gd name="T82" fmla="*/ 0 w 744"/>
                <a:gd name="T83" fmla="*/ 354 h 570"/>
                <a:gd name="T84" fmla="*/ 6 w 744"/>
                <a:gd name="T85" fmla="*/ 336 h 570"/>
                <a:gd name="T86" fmla="*/ 18 w 744"/>
                <a:gd name="T87" fmla="*/ 324 h 570"/>
                <a:gd name="T88" fmla="*/ 36 w 744"/>
                <a:gd name="T89" fmla="*/ 324 h 570"/>
                <a:gd name="T90" fmla="*/ 54 w 744"/>
                <a:gd name="T91" fmla="*/ 306 h 570"/>
                <a:gd name="T92" fmla="*/ 60 w 744"/>
                <a:gd name="T93" fmla="*/ 252 h 570"/>
                <a:gd name="T94" fmla="*/ 66 w 744"/>
                <a:gd name="T95" fmla="*/ 222 h 570"/>
                <a:gd name="T96" fmla="*/ 72 w 744"/>
                <a:gd name="T97" fmla="*/ 204 h 570"/>
                <a:gd name="T98" fmla="*/ 90 w 744"/>
                <a:gd name="T99" fmla="*/ 204 h 570"/>
                <a:gd name="T100" fmla="*/ 102 w 744"/>
                <a:gd name="T101" fmla="*/ 174 h 570"/>
                <a:gd name="T102" fmla="*/ 114 w 744"/>
                <a:gd name="T103" fmla="*/ 144 h 570"/>
                <a:gd name="T104" fmla="*/ 132 w 744"/>
                <a:gd name="T105" fmla="*/ 114 h 570"/>
                <a:gd name="T106" fmla="*/ 156 w 744"/>
                <a:gd name="T107" fmla="*/ 108 h 570"/>
                <a:gd name="T108" fmla="*/ 168 w 744"/>
                <a:gd name="T109" fmla="*/ 72 h 570"/>
                <a:gd name="T110" fmla="*/ 174 w 744"/>
                <a:gd name="T111" fmla="*/ 48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4"/>
                <a:gd name="T169" fmla="*/ 0 h 570"/>
                <a:gd name="T170" fmla="*/ 744 w 744"/>
                <a:gd name="T171" fmla="*/ 570 h 5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37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3789" y="1856"/>
              <a:ext cx="438" cy="576"/>
            </a:xfrm>
            <a:custGeom>
              <a:avLst/>
              <a:gdLst>
                <a:gd name="T0" fmla="*/ 60 w 516"/>
                <a:gd name="T1" fmla="*/ 390 h 678"/>
                <a:gd name="T2" fmla="*/ 90 w 516"/>
                <a:gd name="T3" fmla="*/ 384 h 678"/>
                <a:gd name="T4" fmla="*/ 102 w 516"/>
                <a:gd name="T5" fmla="*/ 366 h 678"/>
                <a:gd name="T6" fmla="*/ 198 w 516"/>
                <a:gd name="T7" fmla="*/ 354 h 678"/>
                <a:gd name="T8" fmla="*/ 258 w 516"/>
                <a:gd name="T9" fmla="*/ 186 h 678"/>
                <a:gd name="T10" fmla="*/ 174 w 516"/>
                <a:gd name="T11" fmla="*/ 156 h 678"/>
                <a:gd name="T12" fmla="*/ 120 w 516"/>
                <a:gd name="T13" fmla="*/ 132 h 678"/>
                <a:gd name="T14" fmla="*/ 102 w 516"/>
                <a:gd name="T15" fmla="*/ 108 h 678"/>
                <a:gd name="T16" fmla="*/ 90 w 516"/>
                <a:gd name="T17" fmla="*/ 78 h 678"/>
                <a:gd name="T18" fmla="*/ 96 w 516"/>
                <a:gd name="T19" fmla="*/ 54 h 678"/>
                <a:gd name="T20" fmla="*/ 114 w 516"/>
                <a:gd name="T21" fmla="*/ 30 h 678"/>
                <a:gd name="T22" fmla="*/ 126 w 516"/>
                <a:gd name="T23" fmla="*/ 36 h 678"/>
                <a:gd name="T24" fmla="*/ 150 w 516"/>
                <a:gd name="T25" fmla="*/ 66 h 678"/>
                <a:gd name="T26" fmla="*/ 168 w 516"/>
                <a:gd name="T27" fmla="*/ 84 h 678"/>
                <a:gd name="T28" fmla="*/ 192 w 516"/>
                <a:gd name="T29" fmla="*/ 78 h 678"/>
                <a:gd name="T30" fmla="*/ 216 w 516"/>
                <a:gd name="T31" fmla="*/ 66 h 678"/>
                <a:gd name="T32" fmla="*/ 240 w 516"/>
                <a:gd name="T33" fmla="*/ 60 h 678"/>
                <a:gd name="T34" fmla="*/ 270 w 516"/>
                <a:gd name="T35" fmla="*/ 66 h 678"/>
                <a:gd name="T36" fmla="*/ 294 w 516"/>
                <a:gd name="T37" fmla="*/ 60 h 678"/>
                <a:gd name="T38" fmla="*/ 312 w 516"/>
                <a:gd name="T39" fmla="*/ 48 h 678"/>
                <a:gd name="T40" fmla="*/ 336 w 516"/>
                <a:gd name="T41" fmla="*/ 48 h 678"/>
                <a:gd name="T42" fmla="*/ 354 w 516"/>
                <a:gd name="T43" fmla="*/ 42 h 678"/>
                <a:gd name="T44" fmla="*/ 384 w 516"/>
                <a:gd name="T45" fmla="*/ 36 h 678"/>
                <a:gd name="T46" fmla="*/ 408 w 516"/>
                <a:gd name="T47" fmla="*/ 36 h 678"/>
                <a:gd name="T48" fmla="*/ 432 w 516"/>
                <a:gd name="T49" fmla="*/ 30 h 678"/>
                <a:gd name="T50" fmla="*/ 450 w 516"/>
                <a:gd name="T51" fmla="*/ 24 h 678"/>
                <a:gd name="T52" fmla="*/ 474 w 516"/>
                <a:gd name="T53" fmla="*/ 12 h 678"/>
                <a:gd name="T54" fmla="*/ 486 w 516"/>
                <a:gd name="T55" fmla="*/ 0 h 678"/>
                <a:gd name="T56" fmla="*/ 510 w 516"/>
                <a:gd name="T57" fmla="*/ 18 h 678"/>
                <a:gd name="T58" fmla="*/ 498 w 516"/>
                <a:gd name="T59" fmla="*/ 42 h 678"/>
                <a:gd name="T60" fmla="*/ 504 w 516"/>
                <a:gd name="T61" fmla="*/ 72 h 678"/>
                <a:gd name="T62" fmla="*/ 504 w 516"/>
                <a:gd name="T63" fmla="*/ 78 h 678"/>
                <a:gd name="T64" fmla="*/ 516 w 516"/>
                <a:gd name="T65" fmla="*/ 84 h 678"/>
                <a:gd name="T66" fmla="*/ 492 w 516"/>
                <a:gd name="T67" fmla="*/ 84 h 678"/>
                <a:gd name="T68" fmla="*/ 486 w 516"/>
                <a:gd name="T69" fmla="*/ 114 h 678"/>
                <a:gd name="T70" fmla="*/ 486 w 516"/>
                <a:gd name="T71" fmla="*/ 138 h 678"/>
                <a:gd name="T72" fmla="*/ 468 w 516"/>
                <a:gd name="T73" fmla="*/ 156 h 678"/>
                <a:gd name="T74" fmla="*/ 456 w 516"/>
                <a:gd name="T75" fmla="*/ 180 h 678"/>
                <a:gd name="T76" fmla="*/ 438 w 516"/>
                <a:gd name="T77" fmla="*/ 204 h 678"/>
                <a:gd name="T78" fmla="*/ 426 w 516"/>
                <a:gd name="T79" fmla="*/ 234 h 678"/>
                <a:gd name="T80" fmla="*/ 408 w 516"/>
                <a:gd name="T81" fmla="*/ 264 h 678"/>
                <a:gd name="T82" fmla="*/ 396 w 516"/>
                <a:gd name="T83" fmla="*/ 294 h 678"/>
                <a:gd name="T84" fmla="*/ 372 w 516"/>
                <a:gd name="T85" fmla="*/ 330 h 678"/>
                <a:gd name="T86" fmla="*/ 348 w 516"/>
                <a:gd name="T87" fmla="*/ 366 h 678"/>
                <a:gd name="T88" fmla="*/ 330 w 516"/>
                <a:gd name="T89" fmla="*/ 390 h 678"/>
                <a:gd name="T90" fmla="*/ 306 w 516"/>
                <a:gd name="T91" fmla="*/ 420 h 678"/>
                <a:gd name="T92" fmla="*/ 282 w 516"/>
                <a:gd name="T93" fmla="*/ 444 h 678"/>
                <a:gd name="T94" fmla="*/ 252 w 516"/>
                <a:gd name="T95" fmla="*/ 468 h 678"/>
                <a:gd name="T96" fmla="*/ 234 w 516"/>
                <a:gd name="T97" fmla="*/ 486 h 678"/>
                <a:gd name="T98" fmla="*/ 210 w 516"/>
                <a:gd name="T99" fmla="*/ 498 h 678"/>
                <a:gd name="T100" fmla="*/ 186 w 516"/>
                <a:gd name="T101" fmla="*/ 516 h 678"/>
                <a:gd name="T102" fmla="*/ 162 w 516"/>
                <a:gd name="T103" fmla="*/ 534 h 678"/>
                <a:gd name="T104" fmla="*/ 144 w 516"/>
                <a:gd name="T105" fmla="*/ 546 h 678"/>
                <a:gd name="T106" fmla="*/ 126 w 516"/>
                <a:gd name="T107" fmla="*/ 564 h 678"/>
                <a:gd name="T108" fmla="*/ 96 w 516"/>
                <a:gd name="T109" fmla="*/ 600 h 678"/>
                <a:gd name="T110" fmla="*/ 72 w 516"/>
                <a:gd name="T111" fmla="*/ 618 h 678"/>
                <a:gd name="T112" fmla="*/ 60 w 516"/>
                <a:gd name="T113" fmla="*/ 636 h 678"/>
                <a:gd name="T114" fmla="*/ 54 w 516"/>
                <a:gd name="T115" fmla="*/ 636 h 678"/>
                <a:gd name="T116" fmla="*/ 48 w 516"/>
                <a:gd name="T117" fmla="*/ 648 h 678"/>
                <a:gd name="T118" fmla="*/ 42 w 516"/>
                <a:gd name="T119" fmla="*/ 660 h 678"/>
                <a:gd name="T120" fmla="*/ 42 w 516"/>
                <a:gd name="T121" fmla="*/ 654 h 678"/>
                <a:gd name="T122" fmla="*/ 0 w 516"/>
                <a:gd name="T123" fmla="*/ 636 h 678"/>
                <a:gd name="T124" fmla="*/ 0 w 516"/>
                <a:gd name="T125" fmla="*/ 498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16"/>
                <a:gd name="T190" fmla="*/ 0 h 678"/>
                <a:gd name="T191" fmla="*/ 516 w 516"/>
                <a:gd name="T192" fmla="*/ 678 h 6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38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3488" y="2152"/>
              <a:ext cx="337" cy="408"/>
            </a:xfrm>
            <a:custGeom>
              <a:avLst/>
              <a:gdLst>
                <a:gd name="T0" fmla="*/ 24 w 396"/>
                <a:gd name="T1" fmla="*/ 18 h 480"/>
                <a:gd name="T2" fmla="*/ 48 w 396"/>
                <a:gd name="T3" fmla="*/ 6 h 480"/>
                <a:gd name="T4" fmla="*/ 72 w 396"/>
                <a:gd name="T5" fmla="*/ 0 h 480"/>
                <a:gd name="T6" fmla="*/ 78 w 396"/>
                <a:gd name="T7" fmla="*/ 18 h 480"/>
                <a:gd name="T8" fmla="*/ 102 w 396"/>
                <a:gd name="T9" fmla="*/ 24 h 480"/>
                <a:gd name="T10" fmla="*/ 132 w 396"/>
                <a:gd name="T11" fmla="*/ 30 h 480"/>
                <a:gd name="T12" fmla="*/ 156 w 396"/>
                <a:gd name="T13" fmla="*/ 36 h 480"/>
                <a:gd name="T14" fmla="*/ 204 w 396"/>
                <a:gd name="T15" fmla="*/ 66 h 480"/>
                <a:gd name="T16" fmla="*/ 228 w 396"/>
                <a:gd name="T17" fmla="*/ 72 h 480"/>
                <a:gd name="T18" fmla="*/ 246 w 396"/>
                <a:gd name="T19" fmla="*/ 72 h 480"/>
                <a:gd name="T20" fmla="*/ 264 w 396"/>
                <a:gd name="T21" fmla="*/ 78 h 480"/>
                <a:gd name="T22" fmla="*/ 294 w 396"/>
                <a:gd name="T23" fmla="*/ 66 h 480"/>
                <a:gd name="T24" fmla="*/ 312 w 396"/>
                <a:gd name="T25" fmla="*/ 48 h 480"/>
                <a:gd name="T26" fmla="*/ 336 w 396"/>
                <a:gd name="T27" fmla="*/ 42 h 480"/>
                <a:gd name="T28" fmla="*/ 354 w 396"/>
                <a:gd name="T29" fmla="*/ 42 h 480"/>
                <a:gd name="T30" fmla="*/ 366 w 396"/>
                <a:gd name="T31" fmla="*/ 54 h 480"/>
                <a:gd name="T32" fmla="*/ 390 w 396"/>
                <a:gd name="T33" fmla="*/ 54 h 480"/>
                <a:gd name="T34" fmla="*/ 354 w 396"/>
                <a:gd name="T35" fmla="*/ 108 h 480"/>
                <a:gd name="T36" fmla="*/ 354 w 396"/>
                <a:gd name="T37" fmla="*/ 252 h 480"/>
                <a:gd name="T38" fmla="*/ 378 w 396"/>
                <a:gd name="T39" fmla="*/ 336 h 480"/>
                <a:gd name="T40" fmla="*/ 372 w 396"/>
                <a:gd name="T41" fmla="*/ 342 h 480"/>
                <a:gd name="T42" fmla="*/ 366 w 396"/>
                <a:gd name="T43" fmla="*/ 348 h 480"/>
                <a:gd name="T44" fmla="*/ 354 w 396"/>
                <a:gd name="T45" fmla="*/ 348 h 480"/>
                <a:gd name="T46" fmla="*/ 348 w 396"/>
                <a:gd name="T47" fmla="*/ 354 h 480"/>
                <a:gd name="T48" fmla="*/ 354 w 396"/>
                <a:gd name="T49" fmla="*/ 360 h 480"/>
                <a:gd name="T50" fmla="*/ 354 w 396"/>
                <a:gd name="T51" fmla="*/ 360 h 480"/>
                <a:gd name="T52" fmla="*/ 342 w 396"/>
                <a:gd name="T53" fmla="*/ 360 h 480"/>
                <a:gd name="T54" fmla="*/ 348 w 396"/>
                <a:gd name="T55" fmla="*/ 366 h 480"/>
                <a:gd name="T56" fmla="*/ 330 w 396"/>
                <a:gd name="T57" fmla="*/ 378 h 480"/>
                <a:gd name="T58" fmla="*/ 312 w 396"/>
                <a:gd name="T59" fmla="*/ 384 h 480"/>
                <a:gd name="T60" fmla="*/ 312 w 396"/>
                <a:gd name="T61" fmla="*/ 396 h 480"/>
                <a:gd name="T62" fmla="*/ 306 w 396"/>
                <a:gd name="T63" fmla="*/ 414 h 480"/>
                <a:gd name="T64" fmla="*/ 306 w 396"/>
                <a:gd name="T65" fmla="*/ 414 h 480"/>
                <a:gd name="T66" fmla="*/ 300 w 396"/>
                <a:gd name="T67" fmla="*/ 426 h 480"/>
                <a:gd name="T68" fmla="*/ 300 w 396"/>
                <a:gd name="T69" fmla="*/ 432 h 480"/>
                <a:gd name="T70" fmla="*/ 294 w 396"/>
                <a:gd name="T71" fmla="*/ 444 h 480"/>
                <a:gd name="T72" fmla="*/ 288 w 396"/>
                <a:gd name="T73" fmla="*/ 450 h 480"/>
                <a:gd name="T74" fmla="*/ 282 w 396"/>
                <a:gd name="T75" fmla="*/ 468 h 480"/>
                <a:gd name="T76" fmla="*/ 276 w 396"/>
                <a:gd name="T77" fmla="*/ 474 h 480"/>
                <a:gd name="T78" fmla="*/ 270 w 396"/>
                <a:gd name="T79" fmla="*/ 480 h 480"/>
                <a:gd name="T80" fmla="*/ 270 w 396"/>
                <a:gd name="T81" fmla="*/ 480 h 480"/>
                <a:gd name="T82" fmla="*/ 204 w 396"/>
                <a:gd name="T83" fmla="*/ 438 h 480"/>
                <a:gd name="T84" fmla="*/ 186 w 396"/>
                <a:gd name="T85" fmla="*/ 420 h 480"/>
                <a:gd name="T86" fmla="*/ 180 w 396"/>
                <a:gd name="T87" fmla="*/ 396 h 480"/>
                <a:gd name="T88" fmla="*/ 96 w 396"/>
                <a:gd name="T89" fmla="*/ 348 h 480"/>
                <a:gd name="T90" fmla="*/ 0 w 396"/>
                <a:gd name="T91" fmla="*/ 300 h 480"/>
                <a:gd name="T92" fmla="*/ 6 w 396"/>
                <a:gd name="T93" fmla="*/ 258 h 480"/>
                <a:gd name="T94" fmla="*/ 12 w 396"/>
                <a:gd name="T95" fmla="*/ 234 h 480"/>
                <a:gd name="T96" fmla="*/ 24 w 396"/>
                <a:gd name="T97" fmla="*/ 216 h 480"/>
                <a:gd name="T98" fmla="*/ 30 w 396"/>
                <a:gd name="T99" fmla="*/ 198 h 480"/>
                <a:gd name="T100" fmla="*/ 42 w 396"/>
                <a:gd name="T101" fmla="*/ 186 h 480"/>
                <a:gd name="T102" fmla="*/ 48 w 396"/>
                <a:gd name="T103" fmla="*/ 180 h 480"/>
                <a:gd name="T104" fmla="*/ 60 w 396"/>
                <a:gd name="T105" fmla="*/ 156 h 480"/>
                <a:gd name="T106" fmla="*/ 54 w 396"/>
                <a:gd name="T107" fmla="*/ 126 h 480"/>
                <a:gd name="T108" fmla="*/ 36 w 396"/>
                <a:gd name="T109" fmla="*/ 108 h 480"/>
                <a:gd name="T110" fmla="*/ 30 w 396"/>
                <a:gd name="T111" fmla="*/ 90 h 480"/>
                <a:gd name="T112" fmla="*/ 30 w 396"/>
                <a:gd name="T113" fmla="*/ 78 h 480"/>
                <a:gd name="T114" fmla="*/ 30 w 396"/>
                <a:gd name="T115" fmla="*/ 66 h 480"/>
                <a:gd name="T116" fmla="*/ 12 w 396"/>
                <a:gd name="T117" fmla="*/ 60 h 480"/>
                <a:gd name="T118" fmla="*/ 18 w 396"/>
                <a:gd name="T119" fmla="*/ 54 h 480"/>
                <a:gd name="T120" fmla="*/ 12 w 396"/>
                <a:gd name="T121" fmla="*/ 42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96"/>
                <a:gd name="T184" fmla="*/ 0 h 480"/>
                <a:gd name="T185" fmla="*/ 396 w 396"/>
                <a:gd name="T186" fmla="*/ 480 h 4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39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3819" y="1825"/>
              <a:ext cx="72" cy="77"/>
            </a:xfrm>
            <a:custGeom>
              <a:avLst/>
              <a:gdLst>
                <a:gd name="T0" fmla="*/ 42 w 84"/>
                <a:gd name="T1" fmla="*/ 12 h 90"/>
                <a:gd name="T2" fmla="*/ 54 w 84"/>
                <a:gd name="T3" fmla="*/ 18 h 90"/>
                <a:gd name="T4" fmla="*/ 54 w 84"/>
                <a:gd name="T5" fmla="*/ 6 h 90"/>
                <a:gd name="T6" fmla="*/ 66 w 84"/>
                <a:gd name="T7" fmla="*/ 6 h 90"/>
                <a:gd name="T8" fmla="*/ 72 w 84"/>
                <a:gd name="T9" fmla="*/ 6 h 90"/>
                <a:gd name="T10" fmla="*/ 78 w 84"/>
                <a:gd name="T11" fmla="*/ 18 h 90"/>
                <a:gd name="T12" fmla="*/ 84 w 84"/>
                <a:gd name="T13" fmla="*/ 24 h 90"/>
                <a:gd name="T14" fmla="*/ 84 w 84"/>
                <a:gd name="T15" fmla="*/ 36 h 90"/>
                <a:gd name="T16" fmla="*/ 78 w 84"/>
                <a:gd name="T17" fmla="*/ 42 h 90"/>
                <a:gd name="T18" fmla="*/ 66 w 84"/>
                <a:gd name="T19" fmla="*/ 42 h 90"/>
                <a:gd name="T20" fmla="*/ 60 w 84"/>
                <a:gd name="T21" fmla="*/ 48 h 90"/>
                <a:gd name="T22" fmla="*/ 54 w 84"/>
                <a:gd name="T23" fmla="*/ 54 h 90"/>
                <a:gd name="T24" fmla="*/ 48 w 84"/>
                <a:gd name="T25" fmla="*/ 60 h 90"/>
                <a:gd name="T26" fmla="*/ 42 w 84"/>
                <a:gd name="T27" fmla="*/ 66 h 90"/>
                <a:gd name="T28" fmla="*/ 48 w 84"/>
                <a:gd name="T29" fmla="*/ 60 h 90"/>
                <a:gd name="T30" fmla="*/ 60 w 84"/>
                <a:gd name="T31" fmla="*/ 60 h 90"/>
                <a:gd name="T32" fmla="*/ 72 w 84"/>
                <a:gd name="T33" fmla="*/ 60 h 90"/>
                <a:gd name="T34" fmla="*/ 72 w 84"/>
                <a:gd name="T35" fmla="*/ 60 h 90"/>
                <a:gd name="T36" fmla="*/ 78 w 84"/>
                <a:gd name="T37" fmla="*/ 66 h 90"/>
                <a:gd name="T38" fmla="*/ 60 w 84"/>
                <a:gd name="T39" fmla="*/ 84 h 90"/>
                <a:gd name="T40" fmla="*/ 54 w 84"/>
                <a:gd name="T41" fmla="*/ 90 h 90"/>
                <a:gd name="T42" fmla="*/ 48 w 84"/>
                <a:gd name="T43" fmla="*/ 84 h 90"/>
                <a:gd name="T44" fmla="*/ 36 w 84"/>
                <a:gd name="T45" fmla="*/ 84 h 90"/>
                <a:gd name="T46" fmla="*/ 30 w 84"/>
                <a:gd name="T47" fmla="*/ 90 h 90"/>
                <a:gd name="T48" fmla="*/ 18 w 84"/>
                <a:gd name="T49" fmla="*/ 90 h 90"/>
                <a:gd name="T50" fmla="*/ 6 w 84"/>
                <a:gd name="T51" fmla="*/ 90 h 90"/>
                <a:gd name="T52" fmla="*/ 6 w 84"/>
                <a:gd name="T53" fmla="*/ 72 h 90"/>
                <a:gd name="T54" fmla="*/ 0 w 84"/>
                <a:gd name="T55" fmla="*/ 60 h 90"/>
                <a:gd name="T56" fmla="*/ 6 w 84"/>
                <a:gd name="T57" fmla="*/ 54 h 90"/>
                <a:gd name="T58" fmla="*/ 12 w 84"/>
                <a:gd name="T59" fmla="*/ 48 h 90"/>
                <a:gd name="T60" fmla="*/ 24 w 84"/>
                <a:gd name="T61" fmla="*/ 36 h 90"/>
                <a:gd name="T62" fmla="*/ 24 w 84"/>
                <a:gd name="T63" fmla="*/ 24 h 90"/>
                <a:gd name="T64" fmla="*/ 30 w 84"/>
                <a:gd name="T65" fmla="*/ 18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4"/>
                <a:gd name="T100" fmla="*/ 0 h 90"/>
                <a:gd name="T101" fmla="*/ 84 w 84"/>
                <a:gd name="T102" fmla="*/ 90 h 9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40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3335" y="2801"/>
              <a:ext cx="443" cy="699"/>
            </a:xfrm>
            <a:custGeom>
              <a:avLst/>
              <a:gdLst>
                <a:gd name="T0" fmla="*/ 300 w 884"/>
                <a:gd name="T1" fmla="*/ 343 h 1393"/>
                <a:gd name="T2" fmla="*/ 359 w 884"/>
                <a:gd name="T3" fmla="*/ 364 h 1393"/>
                <a:gd name="T4" fmla="*/ 354 w 884"/>
                <a:gd name="T5" fmla="*/ 434 h 1393"/>
                <a:gd name="T6" fmla="*/ 364 w 884"/>
                <a:gd name="T7" fmla="*/ 504 h 1393"/>
                <a:gd name="T8" fmla="*/ 413 w 884"/>
                <a:gd name="T9" fmla="*/ 552 h 1393"/>
                <a:gd name="T10" fmla="*/ 413 w 884"/>
                <a:gd name="T11" fmla="*/ 514 h 1393"/>
                <a:gd name="T12" fmla="*/ 461 w 884"/>
                <a:gd name="T13" fmla="*/ 477 h 1393"/>
                <a:gd name="T14" fmla="*/ 359 w 884"/>
                <a:gd name="T15" fmla="*/ 235 h 1393"/>
                <a:gd name="T16" fmla="*/ 434 w 884"/>
                <a:gd name="T17" fmla="*/ 91 h 1393"/>
                <a:gd name="T18" fmla="*/ 493 w 884"/>
                <a:gd name="T19" fmla="*/ 96 h 1393"/>
                <a:gd name="T20" fmla="*/ 568 w 884"/>
                <a:gd name="T21" fmla="*/ 91 h 1393"/>
                <a:gd name="T22" fmla="*/ 638 w 884"/>
                <a:gd name="T23" fmla="*/ 80 h 1393"/>
                <a:gd name="T24" fmla="*/ 702 w 884"/>
                <a:gd name="T25" fmla="*/ 69 h 1393"/>
                <a:gd name="T26" fmla="*/ 788 w 884"/>
                <a:gd name="T27" fmla="*/ 37 h 1393"/>
                <a:gd name="T28" fmla="*/ 857 w 884"/>
                <a:gd name="T29" fmla="*/ 10 h 1393"/>
                <a:gd name="T30" fmla="*/ 857 w 884"/>
                <a:gd name="T31" fmla="*/ 53 h 1393"/>
                <a:gd name="T32" fmla="*/ 847 w 884"/>
                <a:gd name="T33" fmla="*/ 101 h 1393"/>
                <a:gd name="T34" fmla="*/ 857 w 884"/>
                <a:gd name="T35" fmla="*/ 150 h 1393"/>
                <a:gd name="T36" fmla="*/ 852 w 884"/>
                <a:gd name="T37" fmla="*/ 177 h 1393"/>
                <a:gd name="T38" fmla="*/ 852 w 884"/>
                <a:gd name="T39" fmla="*/ 203 h 1393"/>
                <a:gd name="T40" fmla="*/ 863 w 884"/>
                <a:gd name="T41" fmla="*/ 241 h 1393"/>
                <a:gd name="T42" fmla="*/ 868 w 884"/>
                <a:gd name="T43" fmla="*/ 305 h 1393"/>
                <a:gd name="T44" fmla="*/ 863 w 884"/>
                <a:gd name="T45" fmla="*/ 343 h 1393"/>
                <a:gd name="T46" fmla="*/ 879 w 884"/>
                <a:gd name="T47" fmla="*/ 370 h 1393"/>
                <a:gd name="T48" fmla="*/ 868 w 884"/>
                <a:gd name="T49" fmla="*/ 391 h 1393"/>
                <a:gd name="T50" fmla="*/ 857 w 884"/>
                <a:gd name="T51" fmla="*/ 423 h 1393"/>
                <a:gd name="T52" fmla="*/ 820 w 884"/>
                <a:gd name="T53" fmla="*/ 471 h 1393"/>
                <a:gd name="T54" fmla="*/ 799 w 884"/>
                <a:gd name="T55" fmla="*/ 493 h 1393"/>
                <a:gd name="T56" fmla="*/ 782 w 884"/>
                <a:gd name="T57" fmla="*/ 520 h 1393"/>
                <a:gd name="T58" fmla="*/ 702 w 884"/>
                <a:gd name="T59" fmla="*/ 557 h 1393"/>
                <a:gd name="T60" fmla="*/ 659 w 884"/>
                <a:gd name="T61" fmla="*/ 573 h 1393"/>
                <a:gd name="T62" fmla="*/ 606 w 884"/>
                <a:gd name="T63" fmla="*/ 605 h 1393"/>
                <a:gd name="T64" fmla="*/ 552 w 884"/>
                <a:gd name="T65" fmla="*/ 654 h 1393"/>
                <a:gd name="T66" fmla="*/ 525 w 884"/>
                <a:gd name="T67" fmla="*/ 686 h 1393"/>
                <a:gd name="T68" fmla="*/ 493 w 884"/>
                <a:gd name="T69" fmla="*/ 713 h 1393"/>
                <a:gd name="T70" fmla="*/ 450 w 884"/>
                <a:gd name="T71" fmla="*/ 739 h 1393"/>
                <a:gd name="T72" fmla="*/ 429 w 884"/>
                <a:gd name="T73" fmla="*/ 766 h 1393"/>
                <a:gd name="T74" fmla="*/ 391 w 884"/>
                <a:gd name="T75" fmla="*/ 798 h 1393"/>
                <a:gd name="T76" fmla="*/ 380 w 884"/>
                <a:gd name="T77" fmla="*/ 825 h 1393"/>
                <a:gd name="T78" fmla="*/ 364 w 884"/>
                <a:gd name="T79" fmla="*/ 852 h 1393"/>
                <a:gd name="T80" fmla="*/ 386 w 884"/>
                <a:gd name="T81" fmla="*/ 868 h 1393"/>
                <a:gd name="T82" fmla="*/ 402 w 884"/>
                <a:gd name="T83" fmla="*/ 895 h 1393"/>
                <a:gd name="T84" fmla="*/ 407 w 884"/>
                <a:gd name="T85" fmla="*/ 911 h 1393"/>
                <a:gd name="T86" fmla="*/ 423 w 884"/>
                <a:gd name="T87" fmla="*/ 970 h 1393"/>
                <a:gd name="T88" fmla="*/ 445 w 884"/>
                <a:gd name="T89" fmla="*/ 997 h 1393"/>
                <a:gd name="T90" fmla="*/ 439 w 884"/>
                <a:gd name="T91" fmla="*/ 1088 h 1393"/>
                <a:gd name="T92" fmla="*/ 429 w 884"/>
                <a:gd name="T93" fmla="*/ 1141 h 1393"/>
                <a:gd name="T94" fmla="*/ 413 w 884"/>
                <a:gd name="T95" fmla="*/ 1195 h 1393"/>
                <a:gd name="T96" fmla="*/ 273 w 884"/>
                <a:gd name="T97" fmla="*/ 1254 h 1393"/>
                <a:gd name="T98" fmla="*/ 209 w 884"/>
                <a:gd name="T99" fmla="*/ 1308 h 1393"/>
                <a:gd name="T100" fmla="*/ 203 w 884"/>
                <a:gd name="T101" fmla="*/ 1334 h 1393"/>
                <a:gd name="T102" fmla="*/ 220 w 884"/>
                <a:gd name="T103" fmla="*/ 1393 h 1393"/>
                <a:gd name="T104" fmla="*/ 150 w 884"/>
                <a:gd name="T105" fmla="*/ 1292 h 1393"/>
                <a:gd name="T106" fmla="*/ 123 w 884"/>
                <a:gd name="T107" fmla="*/ 1125 h 1393"/>
                <a:gd name="T108" fmla="*/ 193 w 884"/>
                <a:gd name="T109" fmla="*/ 889 h 1393"/>
                <a:gd name="T110" fmla="*/ 236 w 884"/>
                <a:gd name="T111" fmla="*/ 793 h 1393"/>
                <a:gd name="T112" fmla="*/ 209 w 884"/>
                <a:gd name="T113" fmla="*/ 729 h 1393"/>
                <a:gd name="T114" fmla="*/ 230 w 884"/>
                <a:gd name="T115" fmla="*/ 659 h 1393"/>
                <a:gd name="T116" fmla="*/ 230 w 884"/>
                <a:gd name="T117" fmla="*/ 600 h 1393"/>
                <a:gd name="T118" fmla="*/ 182 w 884"/>
                <a:gd name="T119" fmla="*/ 509 h 1393"/>
                <a:gd name="T120" fmla="*/ 80 w 884"/>
                <a:gd name="T121" fmla="*/ 466 h 1393"/>
                <a:gd name="T122" fmla="*/ 5 w 884"/>
                <a:gd name="T123" fmla="*/ 396 h 1393"/>
                <a:gd name="T124" fmla="*/ 198 w 884"/>
                <a:gd name="T125" fmla="*/ 316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84"/>
                <a:gd name="T190" fmla="*/ 0 h 1393"/>
                <a:gd name="T191" fmla="*/ 884 w 884"/>
                <a:gd name="T192" fmla="*/ 1393 h 13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9" name="Group 41"/>
            <p:cNvGrpSpPr>
              <a:grpSpLocks/>
            </p:cNvGrpSpPr>
            <p:nvPr/>
          </p:nvGrpSpPr>
          <p:grpSpPr bwMode="auto">
            <a:xfrm>
              <a:off x="2555" y="2549"/>
              <a:ext cx="520" cy="577"/>
              <a:chOff x="2555" y="2549"/>
              <a:chExt cx="520" cy="577"/>
            </a:xfrm>
            <a:grpFill/>
          </p:grpSpPr>
          <p:sp>
            <p:nvSpPr>
              <p:cNvPr id="168" name="Freeform 4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102 w 612"/>
                  <a:gd name="T1" fmla="*/ 0 h 606"/>
                  <a:gd name="T2" fmla="*/ 144 w 612"/>
                  <a:gd name="T3" fmla="*/ 0 h 606"/>
                  <a:gd name="T4" fmla="*/ 228 w 612"/>
                  <a:gd name="T5" fmla="*/ 0 h 606"/>
                  <a:gd name="T6" fmla="*/ 246 w 612"/>
                  <a:gd name="T7" fmla="*/ 24 h 606"/>
                  <a:gd name="T8" fmla="*/ 258 w 612"/>
                  <a:gd name="T9" fmla="*/ 54 h 606"/>
                  <a:gd name="T10" fmla="*/ 270 w 612"/>
                  <a:gd name="T11" fmla="*/ 84 h 606"/>
                  <a:gd name="T12" fmla="*/ 288 w 612"/>
                  <a:gd name="T13" fmla="*/ 108 h 606"/>
                  <a:gd name="T14" fmla="*/ 312 w 612"/>
                  <a:gd name="T15" fmla="*/ 108 h 606"/>
                  <a:gd name="T16" fmla="*/ 348 w 612"/>
                  <a:gd name="T17" fmla="*/ 108 h 606"/>
                  <a:gd name="T18" fmla="*/ 384 w 612"/>
                  <a:gd name="T19" fmla="*/ 78 h 606"/>
                  <a:gd name="T20" fmla="*/ 426 w 612"/>
                  <a:gd name="T21" fmla="*/ 54 h 606"/>
                  <a:gd name="T22" fmla="*/ 498 w 612"/>
                  <a:gd name="T23" fmla="*/ 78 h 606"/>
                  <a:gd name="T24" fmla="*/ 498 w 612"/>
                  <a:gd name="T25" fmla="*/ 90 h 606"/>
                  <a:gd name="T26" fmla="*/ 504 w 612"/>
                  <a:gd name="T27" fmla="*/ 132 h 606"/>
                  <a:gd name="T28" fmla="*/ 504 w 612"/>
                  <a:gd name="T29" fmla="*/ 168 h 606"/>
                  <a:gd name="T30" fmla="*/ 510 w 612"/>
                  <a:gd name="T31" fmla="*/ 192 h 606"/>
                  <a:gd name="T32" fmla="*/ 522 w 612"/>
                  <a:gd name="T33" fmla="*/ 228 h 606"/>
                  <a:gd name="T34" fmla="*/ 516 w 612"/>
                  <a:gd name="T35" fmla="*/ 252 h 606"/>
                  <a:gd name="T36" fmla="*/ 534 w 612"/>
                  <a:gd name="T37" fmla="*/ 258 h 606"/>
                  <a:gd name="T38" fmla="*/ 564 w 612"/>
                  <a:gd name="T39" fmla="*/ 264 h 606"/>
                  <a:gd name="T40" fmla="*/ 588 w 612"/>
                  <a:gd name="T41" fmla="*/ 258 h 606"/>
                  <a:gd name="T42" fmla="*/ 612 w 612"/>
                  <a:gd name="T43" fmla="*/ 264 h 606"/>
                  <a:gd name="T44" fmla="*/ 612 w 612"/>
                  <a:gd name="T45" fmla="*/ 294 h 606"/>
                  <a:gd name="T46" fmla="*/ 612 w 612"/>
                  <a:gd name="T47" fmla="*/ 330 h 606"/>
                  <a:gd name="T48" fmla="*/ 510 w 612"/>
                  <a:gd name="T49" fmla="*/ 516 h 606"/>
                  <a:gd name="T50" fmla="*/ 540 w 612"/>
                  <a:gd name="T51" fmla="*/ 552 h 606"/>
                  <a:gd name="T52" fmla="*/ 564 w 612"/>
                  <a:gd name="T53" fmla="*/ 576 h 606"/>
                  <a:gd name="T54" fmla="*/ 480 w 612"/>
                  <a:gd name="T55" fmla="*/ 606 h 606"/>
                  <a:gd name="T56" fmla="*/ 444 w 612"/>
                  <a:gd name="T57" fmla="*/ 606 h 606"/>
                  <a:gd name="T58" fmla="*/ 420 w 612"/>
                  <a:gd name="T59" fmla="*/ 600 h 606"/>
                  <a:gd name="T60" fmla="*/ 390 w 612"/>
                  <a:gd name="T61" fmla="*/ 594 h 606"/>
                  <a:gd name="T62" fmla="*/ 384 w 612"/>
                  <a:gd name="T63" fmla="*/ 594 h 606"/>
                  <a:gd name="T64" fmla="*/ 354 w 612"/>
                  <a:gd name="T65" fmla="*/ 594 h 606"/>
                  <a:gd name="T66" fmla="*/ 330 w 612"/>
                  <a:gd name="T67" fmla="*/ 576 h 606"/>
                  <a:gd name="T68" fmla="*/ 108 w 612"/>
                  <a:gd name="T69" fmla="*/ 576 h 606"/>
                  <a:gd name="T70" fmla="*/ 84 w 612"/>
                  <a:gd name="T71" fmla="*/ 558 h 606"/>
                  <a:gd name="T72" fmla="*/ 60 w 612"/>
                  <a:gd name="T73" fmla="*/ 552 h 606"/>
                  <a:gd name="T74" fmla="*/ 36 w 612"/>
                  <a:gd name="T75" fmla="*/ 564 h 606"/>
                  <a:gd name="T76" fmla="*/ 0 w 612"/>
                  <a:gd name="T77" fmla="*/ 570 h 606"/>
                  <a:gd name="T78" fmla="*/ 0 w 612"/>
                  <a:gd name="T79" fmla="*/ 522 h 606"/>
                  <a:gd name="T80" fmla="*/ 6 w 612"/>
                  <a:gd name="T81" fmla="*/ 492 h 606"/>
                  <a:gd name="T82" fmla="*/ 18 w 612"/>
                  <a:gd name="T83" fmla="*/ 456 h 606"/>
                  <a:gd name="T84" fmla="*/ 30 w 612"/>
                  <a:gd name="T85" fmla="*/ 426 h 606"/>
                  <a:gd name="T86" fmla="*/ 30 w 612"/>
                  <a:gd name="T87" fmla="*/ 396 h 606"/>
                  <a:gd name="T88" fmla="*/ 36 w 612"/>
                  <a:gd name="T89" fmla="*/ 384 h 606"/>
                  <a:gd name="T90" fmla="*/ 42 w 612"/>
                  <a:gd name="T91" fmla="*/ 372 h 606"/>
                  <a:gd name="T92" fmla="*/ 66 w 612"/>
                  <a:gd name="T93" fmla="*/ 342 h 606"/>
                  <a:gd name="T94" fmla="*/ 84 w 612"/>
                  <a:gd name="T95" fmla="*/ 330 h 606"/>
                  <a:gd name="T96" fmla="*/ 96 w 612"/>
                  <a:gd name="T97" fmla="*/ 312 h 606"/>
                  <a:gd name="T98" fmla="*/ 102 w 612"/>
                  <a:gd name="T99" fmla="*/ 276 h 606"/>
                  <a:gd name="T100" fmla="*/ 96 w 612"/>
                  <a:gd name="T101" fmla="*/ 240 h 606"/>
                  <a:gd name="T102" fmla="*/ 90 w 612"/>
                  <a:gd name="T103" fmla="*/ 216 h 606"/>
                  <a:gd name="T104" fmla="*/ 72 w 612"/>
                  <a:gd name="T105" fmla="*/ 192 h 606"/>
                  <a:gd name="T106" fmla="*/ 60 w 612"/>
                  <a:gd name="T107" fmla="*/ 156 h 606"/>
                  <a:gd name="T108" fmla="*/ 60 w 612"/>
                  <a:gd name="T109" fmla="*/ 162 h 606"/>
                  <a:gd name="T110" fmla="*/ 84 w 612"/>
                  <a:gd name="T111" fmla="*/ 138 h 606"/>
                  <a:gd name="T112" fmla="*/ 78 w 612"/>
                  <a:gd name="T113" fmla="*/ 120 h 606"/>
                  <a:gd name="T114" fmla="*/ 66 w 612"/>
                  <a:gd name="T115" fmla="*/ 90 h 606"/>
                  <a:gd name="T116" fmla="*/ 54 w 612"/>
                  <a:gd name="T117" fmla="*/ 60 h 606"/>
                  <a:gd name="T118" fmla="*/ 36 w 612"/>
                  <a:gd name="T119" fmla="*/ 30 h 606"/>
                  <a:gd name="T120" fmla="*/ 24 w 612"/>
                  <a:gd name="T121" fmla="*/ 12 h 606"/>
                  <a:gd name="T122" fmla="*/ 54 w 612"/>
                  <a:gd name="T123" fmla="*/ 12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12"/>
                  <a:gd name="T187" fmla="*/ 0 h 606"/>
                  <a:gd name="T188" fmla="*/ 612 w 612"/>
                  <a:gd name="T189" fmla="*/ 606 h 60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9" name="Freeform 4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30 h 66"/>
                  <a:gd name="T2" fmla="*/ 6 w 54"/>
                  <a:gd name="T3" fmla="*/ 24 h 66"/>
                  <a:gd name="T4" fmla="*/ 12 w 54"/>
                  <a:gd name="T5" fmla="*/ 18 h 66"/>
                  <a:gd name="T6" fmla="*/ 18 w 54"/>
                  <a:gd name="T7" fmla="*/ 18 h 66"/>
                  <a:gd name="T8" fmla="*/ 18 w 54"/>
                  <a:gd name="T9" fmla="*/ 12 h 66"/>
                  <a:gd name="T10" fmla="*/ 24 w 54"/>
                  <a:gd name="T11" fmla="*/ 12 h 66"/>
                  <a:gd name="T12" fmla="*/ 30 w 54"/>
                  <a:gd name="T13" fmla="*/ 6 h 66"/>
                  <a:gd name="T14" fmla="*/ 36 w 54"/>
                  <a:gd name="T15" fmla="*/ 6 h 66"/>
                  <a:gd name="T16" fmla="*/ 36 w 54"/>
                  <a:gd name="T17" fmla="*/ 0 h 66"/>
                  <a:gd name="T18" fmla="*/ 42 w 54"/>
                  <a:gd name="T19" fmla="*/ 0 h 66"/>
                  <a:gd name="T20" fmla="*/ 42 w 54"/>
                  <a:gd name="T21" fmla="*/ 6 h 66"/>
                  <a:gd name="T22" fmla="*/ 48 w 54"/>
                  <a:gd name="T23" fmla="*/ 6 h 66"/>
                  <a:gd name="T24" fmla="*/ 48 w 54"/>
                  <a:gd name="T25" fmla="*/ 12 h 66"/>
                  <a:gd name="T26" fmla="*/ 54 w 54"/>
                  <a:gd name="T27" fmla="*/ 12 h 66"/>
                  <a:gd name="T28" fmla="*/ 48 w 54"/>
                  <a:gd name="T29" fmla="*/ 12 h 66"/>
                  <a:gd name="T30" fmla="*/ 48 w 54"/>
                  <a:gd name="T31" fmla="*/ 18 h 66"/>
                  <a:gd name="T32" fmla="*/ 42 w 54"/>
                  <a:gd name="T33" fmla="*/ 18 h 66"/>
                  <a:gd name="T34" fmla="*/ 42 w 54"/>
                  <a:gd name="T35" fmla="*/ 24 h 66"/>
                  <a:gd name="T36" fmla="*/ 36 w 54"/>
                  <a:gd name="T37" fmla="*/ 24 h 66"/>
                  <a:gd name="T38" fmla="*/ 36 w 54"/>
                  <a:gd name="T39" fmla="*/ 30 h 66"/>
                  <a:gd name="T40" fmla="*/ 36 w 54"/>
                  <a:gd name="T41" fmla="*/ 24 h 66"/>
                  <a:gd name="T42" fmla="*/ 36 w 54"/>
                  <a:gd name="T43" fmla="*/ 30 h 66"/>
                  <a:gd name="T44" fmla="*/ 30 w 54"/>
                  <a:gd name="T45" fmla="*/ 30 h 66"/>
                  <a:gd name="T46" fmla="*/ 24 w 54"/>
                  <a:gd name="T47" fmla="*/ 30 h 66"/>
                  <a:gd name="T48" fmla="*/ 24 w 54"/>
                  <a:gd name="T49" fmla="*/ 36 h 66"/>
                  <a:gd name="T50" fmla="*/ 24 w 54"/>
                  <a:gd name="T51" fmla="*/ 42 h 66"/>
                  <a:gd name="T52" fmla="*/ 24 w 54"/>
                  <a:gd name="T53" fmla="*/ 66 h 66"/>
                  <a:gd name="T54" fmla="*/ 12 w 54"/>
                  <a:gd name="T55" fmla="*/ 66 h 66"/>
                  <a:gd name="T56" fmla="*/ 6 w 54"/>
                  <a:gd name="T57" fmla="*/ 66 h 66"/>
                  <a:gd name="T58" fmla="*/ 6 w 54"/>
                  <a:gd name="T59" fmla="*/ 60 h 66"/>
                  <a:gd name="T60" fmla="*/ 6 w 54"/>
                  <a:gd name="T61" fmla="*/ 54 h 66"/>
                  <a:gd name="T62" fmla="*/ 12 w 54"/>
                  <a:gd name="T63" fmla="*/ 54 h 66"/>
                  <a:gd name="T64" fmla="*/ 12 w 54"/>
                  <a:gd name="T65" fmla="*/ 48 h 66"/>
                  <a:gd name="T66" fmla="*/ 6 w 54"/>
                  <a:gd name="T67" fmla="*/ 48 h 66"/>
                  <a:gd name="T68" fmla="*/ 6 w 54"/>
                  <a:gd name="T69" fmla="*/ 42 h 66"/>
                  <a:gd name="T70" fmla="*/ 6 w 54"/>
                  <a:gd name="T71" fmla="*/ 36 h 66"/>
                  <a:gd name="T72" fmla="*/ 0 w 54"/>
                  <a:gd name="T73" fmla="*/ 3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"/>
                  <a:gd name="T112" fmla="*/ 0 h 66"/>
                  <a:gd name="T113" fmla="*/ 54 w 5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0" name="Freeform 44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2988" y="2713"/>
              <a:ext cx="495" cy="413"/>
            </a:xfrm>
            <a:custGeom>
              <a:avLst/>
              <a:gdLst>
                <a:gd name="T0" fmla="*/ 120 w 582"/>
                <a:gd name="T1" fmla="*/ 144 h 486"/>
                <a:gd name="T2" fmla="*/ 126 w 582"/>
                <a:gd name="T3" fmla="*/ 156 h 486"/>
                <a:gd name="T4" fmla="*/ 162 w 582"/>
                <a:gd name="T5" fmla="*/ 144 h 486"/>
                <a:gd name="T6" fmla="*/ 174 w 582"/>
                <a:gd name="T7" fmla="*/ 174 h 486"/>
                <a:gd name="T8" fmla="*/ 210 w 582"/>
                <a:gd name="T9" fmla="*/ 180 h 486"/>
                <a:gd name="T10" fmla="*/ 234 w 582"/>
                <a:gd name="T11" fmla="*/ 186 h 486"/>
                <a:gd name="T12" fmla="*/ 258 w 582"/>
                <a:gd name="T13" fmla="*/ 162 h 486"/>
                <a:gd name="T14" fmla="*/ 270 w 582"/>
                <a:gd name="T15" fmla="*/ 192 h 486"/>
                <a:gd name="T16" fmla="*/ 300 w 582"/>
                <a:gd name="T17" fmla="*/ 210 h 486"/>
                <a:gd name="T18" fmla="*/ 318 w 582"/>
                <a:gd name="T19" fmla="*/ 222 h 486"/>
                <a:gd name="T20" fmla="*/ 342 w 582"/>
                <a:gd name="T21" fmla="*/ 246 h 486"/>
                <a:gd name="T22" fmla="*/ 360 w 582"/>
                <a:gd name="T23" fmla="*/ 258 h 486"/>
                <a:gd name="T24" fmla="*/ 384 w 582"/>
                <a:gd name="T25" fmla="*/ 258 h 486"/>
                <a:gd name="T26" fmla="*/ 366 w 582"/>
                <a:gd name="T27" fmla="*/ 204 h 486"/>
                <a:gd name="T28" fmla="*/ 336 w 582"/>
                <a:gd name="T29" fmla="*/ 192 h 486"/>
                <a:gd name="T30" fmla="*/ 318 w 582"/>
                <a:gd name="T31" fmla="*/ 174 h 486"/>
                <a:gd name="T32" fmla="*/ 318 w 582"/>
                <a:gd name="T33" fmla="*/ 144 h 486"/>
                <a:gd name="T34" fmla="*/ 330 w 582"/>
                <a:gd name="T35" fmla="*/ 114 h 486"/>
                <a:gd name="T36" fmla="*/ 330 w 582"/>
                <a:gd name="T37" fmla="*/ 84 h 486"/>
                <a:gd name="T38" fmla="*/ 324 w 582"/>
                <a:gd name="T39" fmla="*/ 66 h 486"/>
                <a:gd name="T40" fmla="*/ 318 w 582"/>
                <a:gd name="T41" fmla="*/ 48 h 486"/>
                <a:gd name="T42" fmla="*/ 342 w 582"/>
                <a:gd name="T43" fmla="*/ 12 h 486"/>
                <a:gd name="T44" fmla="*/ 432 w 582"/>
                <a:gd name="T45" fmla="*/ 0 h 486"/>
                <a:gd name="T46" fmla="*/ 468 w 582"/>
                <a:gd name="T47" fmla="*/ 18 h 486"/>
                <a:gd name="T48" fmla="*/ 492 w 582"/>
                <a:gd name="T49" fmla="*/ 36 h 486"/>
                <a:gd name="T50" fmla="*/ 522 w 582"/>
                <a:gd name="T51" fmla="*/ 48 h 486"/>
                <a:gd name="T52" fmla="*/ 546 w 582"/>
                <a:gd name="T53" fmla="*/ 66 h 486"/>
                <a:gd name="T54" fmla="*/ 564 w 582"/>
                <a:gd name="T55" fmla="*/ 78 h 486"/>
                <a:gd name="T56" fmla="*/ 576 w 582"/>
                <a:gd name="T57" fmla="*/ 114 h 486"/>
                <a:gd name="T58" fmla="*/ 558 w 582"/>
                <a:gd name="T59" fmla="*/ 132 h 486"/>
                <a:gd name="T60" fmla="*/ 558 w 582"/>
                <a:gd name="T61" fmla="*/ 162 h 486"/>
                <a:gd name="T62" fmla="*/ 558 w 582"/>
                <a:gd name="T63" fmla="*/ 186 h 486"/>
                <a:gd name="T64" fmla="*/ 564 w 582"/>
                <a:gd name="T65" fmla="*/ 210 h 486"/>
                <a:gd name="T66" fmla="*/ 540 w 582"/>
                <a:gd name="T67" fmla="*/ 228 h 486"/>
                <a:gd name="T68" fmla="*/ 540 w 582"/>
                <a:gd name="T69" fmla="*/ 258 h 486"/>
                <a:gd name="T70" fmla="*/ 540 w 582"/>
                <a:gd name="T71" fmla="*/ 270 h 486"/>
                <a:gd name="T72" fmla="*/ 546 w 582"/>
                <a:gd name="T73" fmla="*/ 282 h 486"/>
                <a:gd name="T74" fmla="*/ 492 w 582"/>
                <a:gd name="T75" fmla="*/ 306 h 486"/>
                <a:gd name="T76" fmla="*/ 426 w 582"/>
                <a:gd name="T77" fmla="*/ 324 h 486"/>
                <a:gd name="T78" fmla="*/ 414 w 582"/>
                <a:gd name="T79" fmla="*/ 354 h 486"/>
                <a:gd name="T80" fmla="*/ 384 w 582"/>
                <a:gd name="T81" fmla="*/ 366 h 486"/>
                <a:gd name="T82" fmla="*/ 348 w 582"/>
                <a:gd name="T83" fmla="*/ 378 h 486"/>
                <a:gd name="T84" fmla="*/ 336 w 582"/>
                <a:gd name="T85" fmla="*/ 390 h 486"/>
                <a:gd name="T86" fmla="*/ 330 w 582"/>
                <a:gd name="T87" fmla="*/ 414 h 486"/>
                <a:gd name="T88" fmla="*/ 264 w 582"/>
                <a:gd name="T89" fmla="*/ 462 h 486"/>
                <a:gd name="T90" fmla="*/ 240 w 582"/>
                <a:gd name="T91" fmla="*/ 480 h 486"/>
                <a:gd name="T92" fmla="*/ 210 w 582"/>
                <a:gd name="T93" fmla="*/ 480 h 486"/>
                <a:gd name="T94" fmla="*/ 186 w 582"/>
                <a:gd name="T95" fmla="*/ 474 h 486"/>
                <a:gd name="T96" fmla="*/ 156 w 582"/>
                <a:gd name="T97" fmla="*/ 474 h 486"/>
                <a:gd name="T98" fmla="*/ 132 w 582"/>
                <a:gd name="T99" fmla="*/ 456 h 486"/>
                <a:gd name="T100" fmla="*/ 72 w 582"/>
                <a:gd name="T101" fmla="*/ 468 h 486"/>
                <a:gd name="T102" fmla="*/ 48 w 582"/>
                <a:gd name="T103" fmla="*/ 450 h 486"/>
                <a:gd name="T104" fmla="*/ 18 w 582"/>
                <a:gd name="T105" fmla="*/ 420 h 486"/>
                <a:gd name="T106" fmla="*/ 102 w 582"/>
                <a:gd name="T107" fmla="*/ 234 h 486"/>
                <a:gd name="T108" fmla="*/ 102 w 582"/>
                <a:gd name="T109" fmla="*/ 198 h 486"/>
                <a:gd name="T110" fmla="*/ 96 w 582"/>
                <a:gd name="T111" fmla="*/ 168 h 486"/>
                <a:gd name="T112" fmla="*/ 96 w 582"/>
                <a:gd name="T113" fmla="*/ 138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82"/>
                <a:gd name="T172" fmla="*/ 0 h 486"/>
                <a:gd name="T173" fmla="*/ 582 w 582"/>
                <a:gd name="T174" fmla="*/ 486 h 4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4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3126" y="3024"/>
              <a:ext cx="326" cy="285"/>
            </a:xfrm>
            <a:custGeom>
              <a:avLst/>
              <a:gdLst>
                <a:gd name="T0" fmla="*/ 12 w 384"/>
                <a:gd name="T1" fmla="*/ 114 h 336"/>
                <a:gd name="T2" fmla="*/ 24 w 384"/>
                <a:gd name="T3" fmla="*/ 114 h 336"/>
                <a:gd name="T4" fmla="*/ 36 w 384"/>
                <a:gd name="T5" fmla="*/ 114 h 336"/>
                <a:gd name="T6" fmla="*/ 60 w 384"/>
                <a:gd name="T7" fmla="*/ 114 h 336"/>
                <a:gd name="T8" fmla="*/ 78 w 384"/>
                <a:gd name="T9" fmla="*/ 120 h 336"/>
                <a:gd name="T10" fmla="*/ 84 w 384"/>
                <a:gd name="T11" fmla="*/ 114 h 336"/>
                <a:gd name="T12" fmla="*/ 102 w 384"/>
                <a:gd name="T13" fmla="*/ 96 h 336"/>
                <a:gd name="T14" fmla="*/ 126 w 384"/>
                <a:gd name="T15" fmla="*/ 66 h 336"/>
                <a:gd name="T16" fmla="*/ 174 w 384"/>
                <a:gd name="T17" fmla="*/ 48 h 336"/>
                <a:gd name="T18" fmla="*/ 180 w 384"/>
                <a:gd name="T19" fmla="*/ 30 h 336"/>
                <a:gd name="T20" fmla="*/ 174 w 384"/>
                <a:gd name="T21" fmla="*/ 24 h 336"/>
                <a:gd name="T22" fmla="*/ 186 w 384"/>
                <a:gd name="T23" fmla="*/ 18 h 336"/>
                <a:gd name="T24" fmla="*/ 204 w 384"/>
                <a:gd name="T25" fmla="*/ 6 h 336"/>
                <a:gd name="T26" fmla="*/ 222 w 384"/>
                <a:gd name="T27" fmla="*/ 0 h 336"/>
                <a:gd name="T28" fmla="*/ 246 w 384"/>
                <a:gd name="T29" fmla="*/ 0 h 336"/>
                <a:gd name="T30" fmla="*/ 282 w 384"/>
                <a:gd name="T31" fmla="*/ 24 h 336"/>
                <a:gd name="T32" fmla="*/ 300 w 384"/>
                <a:gd name="T33" fmla="*/ 18 h 336"/>
                <a:gd name="T34" fmla="*/ 318 w 384"/>
                <a:gd name="T35" fmla="*/ 30 h 336"/>
                <a:gd name="T36" fmla="*/ 336 w 384"/>
                <a:gd name="T37" fmla="*/ 42 h 336"/>
                <a:gd name="T38" fmla="*/ 366 w 384"/>
                <a:gd name="T39" fmla="*/ 48 h 336"/>
                <a:gd name="T40" fmla="*/ 384 w 384"/>
                <a:gd name="T41" fmla="*/ 54 h 336"/>
                <a:gd name="T42" fmla="*/ 378 w 384"/>
                <a:gd name="T43" fmla="*/ 66 h 336"/>
                <a:gd name="T44" fmla="*/ 384 w 384"/>
                <a:gd name="T45" fmla="*/ 90 h 336"/>
                <a:gd name="T46" fmla="*/ 384 w 384"/>
                <a:gd name="T47" fmla="*/ 102 h 336"/>
                <a:gd name="T48" fmla="*/ 384 w 384"/>
                <a:gd name="T49" fmla="*/ 114 h 336"/>
                <a:gd name="T50" fmla="*/ 384 w 384"/>
                <a:gd name="T51" fmla="*/ 126 h 336"/>
                <a:gd name="T52" fmla="*/ 378 w 384"/>
                <a:gd name="T53" fmla="*/ 144 h 336"/>
                <a:gd name="T54" fmla="*/ 366 w 384"/>
                <a:gd name="T55" fmla="*/ 156 h 336"/>
                <a:gd name="T56" fmla="*/ 366 w 384"/>
                <a:gd name="T57" fmla="*/ 168 h 336"/>
                <a:gd name="T58" fmla="*/ 378 w 384"/>
                <a:gd name="T59" fmla="*/ 180 h 336"/>
                <a:gd name="T60" fmla="*/ 372 w 384"/>
                <a:gd name="T61" fmla="*/ 192 h 336"/>
                <a:gd name="T62" fmla="*/ 378 w 384"/>
                <a:gd name="T63" fmla="*/ 204 h 336"/>
                <a:gd name="T64" fmla="*/ 378 w 384"/>
                <a:gd name="T65" fmla="*/ 204 h 336"/>
                <a:gd name="T66" fmla="*/ 378 w 384"/>
                <a:gd name="T67" fmla="*/ 222 h 336"/>
                <a:gd name="T68" fmla="*/ 378 w 384"/>
                <a:gd name="T69" fmla="*/ 234 h 336"/>
                <a:gd name="T70" fmla="*/ 360 w 384"/>
                <a:gd name="T71" fmla="*/ 246 h 336"/>
                <a:gd name="T72" fmla="*/ 354 w 384"/>
                <a:gd name="T73" fmla="*/ 270 h 336"/>
                <a:gd name="T74" fmla="*/ 354 w 384"/>
                <a:gd name="T75" fmla="*/ 282 h 336"/>
                <a:gd name="T76" fmla="*/ 300 w 384"/>
                <a:gd name="T77" fmla="*/ 336 h 336"/>
                <a:gd name="T78" fmla="*/ 288 w 384"/>
                <a:gd name="T79" fmla="*/ 336 h 336"/>
                <a:gd name="T80" fmla="*/ 264 w 384"/>
                <a:gd name="T81" fmla="*/ 330 h 336"/>
                <a:gd name="T82" fmla="*/ 246 w 384"/>
                <a:gd name="T83" fmla="*/ 330 h 336"/>
                <a:gd name="T84" fmla="*/ 222 w 384"/>
                <a:gd name="T85" fmla="*/ 324 h 336"/>
                <a:gd name="T86" fmla="*/ 198 w 384"/>
                <a:gd name="T87" fmla="*/ 324 h 336"/>
                <a:gd name="T88" fmla="*/ 186 w 384"/>
                <a:gd name="T89" fmla="*/ 312 h 336"/>
                <a:gd name="T90" fmla="*/ 174 w 384"/>
                <a:gd name="T91" fmla="*/ 300 h 336"/>
                <a:gd name="T92" fmla="*/ 150 w 384"/>
                <a:gd name="T93" fmla="*/ 294 h 336"/>
                <a:gd name="T94" fmla="*/ 138 w 384"/>
                <a:gd name="T95" fmla="*/ 294 h 336"/>
                <a:gd name="T96" fmla="*/ 126 w 384"/>
                <a:gd name="T97" fmla="*/ 282 h 336"/>
                <a:gd name="T98" fmla="*/ 120 w 384"/>
                <a:gd name="T99" fmla="*/ 264 h 336"/>
                <a:gd name="T100" fmla="*/ 120 w 384"/>
                <a:gd name="T101" fmla="*/ 240 h 336"/>
                <a:gd name="T102" fmla="*/ 96 w 384"/>
                <a:gd name="T103" fmla="*/ 240 h 336"/>
                <a:gd name="T104" fmla="*/ 96 w 384"/>
                <a:gd name="T105" fmla="*/ 222 h 336"/>
                <a:gd name="T106" fmla="*/ 78 w 384"/>
                <a:gd name="T107" fmla="*/ 216 h 336"/>
                <a:gd name="T108" fmla="*/ 60 w 384"/>
                <a:gd name="T109" fmla="*/ 204 h 336"/>
                <a:gd name="T110" fmla="*/ 42 w 384"/>
                <a:gd name="T111" fmla="*/ 198 h 336"/>
                <a:gd name="T112" fmla="*/ 36 w 384"/>
                <a:gd name="T113" fmla="*/ 174 h 336"/>
                <a:gd name="T114" fmla="*/ 24 w 384"/>
                <a:gd name="T115" fmla="*/ 156 h 336"/>
                <a:gd name="T116" fmla="*/ 12 w 384"/>
                <a:gd name="T117" fmla="*/ 138 h 336"/>
                <a:gd name="T118" fmla="*/ 6 w 384"/>
                <a:gd name="T119" fmla="*/ 120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336"/>
                <a:gd name="T182" fmla="*/ 384 w 384"/>
                <a:gd name="T183" fmla="*/ 336 h 3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46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2901" y="3115"/>
              <a:ext cx="398" cy="383"/>
            </a:xfrm>
            <a:custGeom>
              <a:avLst/>
              <a:gdLst>
                <a:gd name="T0" fmla="*/ 270 w 468"/>
                <a:gd name="T1" fmla="*/ 18 h 450"/>
                <a:gd name="T2" fmla="*/ 282 w 468"/>
                <a:gd name="T3" fmla="*/ 42 h 450"/>
                <a:gd name="T4" fmla="*/ 300 w 468"/>
                <a:gd name="T5" fmla="*/ 60 h 450"/>
                <a:gd name="T6" fmla="*/ 306 w 468"/>
                <a:gd name="T7" fmla="*/ 90 h 450"/>
                <a:gd name="T8" fmla="*/ 330 w 468"/>
                <a:gd name="T9" fmla="*/ 102 h 450"/>
                <a:gd name="T10" fmla="*/ 354 w 468"/>
                <a:gd name="T11" fmla="*/ 108 h 450"/>
                <a:gd name="T12" fmla="*/ 366 w 468"/>
                <a:gd name="T13" fmla="*/ 132 h 450"/>
                <a:gd name="T14" fmla="*/ 384 w 468"/>
                <a:gd name="T15" fmla="*/ 132 h 450"/>
                <a:gd name="T16" fmla="*/ 384 w 468"/>
                <a:gd name="T17" fmla="*/ 162 h 450"/>
                <a:gd name="T18" fmla="*/ 396 w 468"/>
                <a:gd name="T19" fmla="*/ 180 h 450"/>
                <a:gd name="T20" fmla="*/ 414 w 468"/>
                <a:gd name="T21" fmla="*/ 192 h 450"/>
                <a:gd name="T22" fmla="*/ 438 w 468"/>
                <a:gd name="T23" fmla="*/ 192 h 450"/>
                <a:gd name="T24" fmla="*/ 450 w 468"/>
                <a:gd name="T25" fmla="*/ 210 h 450"/>
                <a:gd name="T26" fmla="*/ 462 w 468"/>
                <a:gd name="T27" fmla="*/ 216 h 450"/>
                <a:gd name="T28" fmla="*/ 444 w 468"/>
                <a:gd name="T29" fmla="*/ 228 h 450"/>
                <a:gd name="T30" fmla="*/ 426 w 468"/>
                <a:gd name="T31" fmla="*/ 234 h 450"/>
                <a:gd name="T32" fmla="*/ 408 w 468"/>
                <a:gd name="T33" fmla="*/ 240 h 450"/>
                <a:gd name="T34" fmla="*/ 396 w 468"/>
                <a:gd name="T35" fmla="*/ 264 h 450"/>
                <a:gd name="T36" fmla="*/ 378 w 468"/>
                <a:gd name="T37" fmla="*/ 270 h 450"/>
                <a:gd name="T38" fmla="*/ 366 w 468"/>
                <a:gd name="T39" fmla="*/ 276 h 450"/>
                <a:gd name="T40" fmla="*/ 366 w 468"/>
                <a:gd name="T41" fmla="*/ 282 h 450"/>
                <a:gd name="T42" fmla="*/ 348 w 468"/>
                <a:gd name="T43" fmla="*/ 294 h 450"/>
                <a:gd name="T44" fmla="*/ 342 w 468"/>
                <a:gd name="T45" fmla="*/ 306 h 450"/>
                <a:gd name="T46" fmla="*/ 330 w 468"/>
                <a:gd name="T47" fmla="*/ 324 h 450"/>
                <a:gd name="T48" fmla="*/ 324 w 468"/>
                <a:gd name="T49" fmla="*/ 336 h 450"/>
                <a:gd name="T50" fmla="*/ 294 w 468"/>
                <a:gd name="T51" fmla="*/ 342 h 450"/>
                <a:gd name="T52" fmla="*/ 282 w 468"/>
                <a:gd name="T53" fmla="*/ 378 h 450"/>
                <a:gd name="T54" fmla="*/ 264 w 468"/>
                <a:gd name="T55" fmla="*/ 396 h 450"/>
                <a:gd name="T56" fmla="*/ 234 w 468"/>
                <a:gd name="T57" fmla="*/ 396 h 450"/>
                <a:gd name="T58" fmla="*/ 216 w 468"/>
                <a:gd name="T59" fmla="*/ 396 h 450"/>
                <a:gd name="T60" fmla="*/ 192 w 468"/>
                <a:gd name="T61" fmla="*/ 384 h 450"/>
                <a:gd name="T62" fmla="*/ 168 w 468"/>
                <a:gd name="T63" fmla="*/ 372 h 450"/>
                <a:gd name="T64" fmla="*/ 150 w 468"/>
                <a:gd name="T65" fmla="*/ 372 h 450"/>
                <a:gd name="T66" fmla="*/ 138 w 468"/>
                <a:gd name="T67" fmla="*/ 390 h 450"/>
                <a:gd name="T68" fmla="*/ 132 w 468"/>
                <a:gd name="T69" fmla="*/ 408 h 450"/>
                <a:gd name="T70" fmla="*/ 114 w 468"/>
                <a:gd name="T71" fmla="*/ 426 h 450"/>
                <a:gd name="T72" fmla="*/ 96 w 468"/>
                <a:gd name="T73" fmla="*/ 438 h 450"/>
                <a:gd name="T74" fmla="*/ 78 w 468"/>
                <a:gd name="T75" fmla="*/ 450 h 450"/>
                <a:gd name="T76" fmla="*/ 48 w 468"/>
                <a:gd name="T77" fmla="*/ 450 h 450"/>
                <a:gd name="T78" fmla="*/ 30 w 468"/>
                <a:gd name="T79" fmla="*/ 438 h 450"/>
                <a:gd name="T80" fmla="*/ 42 w 468"/>
                <a:gd name="T81" fmla="*/ 420 h 450"/>
                <a:gd name="T82" fmla="*/ 36 w 468"/>
                <a:gd name="T83" fmla="*/ 396 h 450"/>
                <a:gd name="T84" fmla="*/ 30 w 468"/>
                <a:gd name="T85" fmla="*/ 378 h 450"/>
                <a:gd name="T86" fmla="*/ 24 w 468"/>
                <a:gd name="T87" fmla="*/ 366 h 450"/>
                <a:gd name="T88" fmla="*/ 6 w 468"/>
                <a:gd name="T89" fmla="*/ 354 h 450"/>
                <a:gd name="T90" fmla="*/ 48 w 468"/>
                <a:gd name="T91" fmla="*/ 156 h 450"/>
                <a:gd name="T92" fmla="*/ 168 w 468"/>
                <a:gd name="T93" fmla="*/ 12 h 450"/>
                <a:gd name="T94" fmla="*/ 180 w 468"/>
                <a:gd name="T95" fmla="*/ 30 h 450"/>
                <a:gd name="T96" fmla="*/ 198 w 468"/>
                <a:gd name="T97" fmla="*/ 24 h 450"/>
                <a:gd name="T98" fmla="*/ 216 w 468"/>
                <a:gd name="T99" fmla="*/ 12 h 450"/>
                <a:gd name="T100" fmla="*/ 234 w 468"/>
                <a:gd name="T101" fmla="*/ 6 h 450"/>
                <a:gd name="T102" fmla="*/ 258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68"/>
                <a:gd name="T157" fmla="*/ 0 h 450"/>
                <a:gd name="T158" fmla="*/ 468 w 468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47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2753" y="3299"/>
              <a:ext cx="694" cy="535"/>
            </a:xfrm>
            <a:custGeom>
              <a:avLst/>
              <a:gdLst>
                <a:gd name="T0" fmla="*/ 18 w 816"/>
                <a:gd name="T1" fmla="*/ 300 h 630"/>
                <a:gd name="T2" fmla="*/ 42 w 816"/>
                <a:gd name="T3" fmla="*/ 312 h 630"/>
                <a:gd name="T4" fmla="*/ 78 w 816"/>
                <a:gd name="T5" fmla="*/ 336 h 630"/>
                <a:gd name="T6" fmla="*/ 132 w 816"/>
                <a:gd name="T7" fmla="*/ 336 h 630"/>
                <a:gd name="T8" fmla="*/ 162 w 816"/>
                <a:gd name="T9" fmla="*/ 318 h 630"/>
                <a:gd name="T10" fmla="*/ 198 w 816"/>
                <a:gd name="T11" fmla="*/ 144 h 630"/>
                <a:gd name="T12" fmla="*/ 210 w 816"/>
                <a:gd name="T13" fmla="*/ 174 h 630"/>
                <a:gd name="T14" fmla="*/ 204 w 816"/>
                <a:gd name="T15" fmla="*/ 216 h 630"/>
                <a:gd name="T16" fmla="*/ 246 w 816"/>
                <a:gd name="T17" fmla="*/ 234 h 630"/>
                <a:gd name="T18" fmla="*/ 282 w 816"/>
                <a:gd name="T19" fmla="*/ 210 h 630"/>
                <a:gd name="T20" fmla="*/ 318 w 816"/>
                <a:gd name="T21" fmla="*/ 174 h 630"/>
                <a:gd name="T22" fmla="*/ 336 w 816"/>
                <a:gd name="T23" fmla="*/ 156 h 630"/>
                <a:gd name="T24" fmla="*/ 390 w 816"/>
                <a:gd name="T25" fmla="*/ 174 h 630"/>
                <a:gd name="T26" fmla="*/ 432 w 816"/>
                <a:gd name="T27" fmla="*/ 180 h 630"/>
                <a:gd name="T28" fmla="*/ 468 w 816"/>
                <a:gd name="T29" fmla="*/ 132 h 630"/>
                <a:gd name="T30" fmla="*/ 504 w 816"/>
                <a:gd name="T31" fmla="*/ 114 h 630"/>
                <a:gd name="T32" fmla="*/ 522 w 816"/>
                <a:gd name="T33" fmla="*/ 72 h 630"/>
                <a:gd name="T34" fmla="*/ 546 w 816"/>
                <a:gd name="T35" fmla="*/ 60 h 630"/>
                <a:gd name="T36" fmla="*/ 564 w 816"/>
                <a:gd name="T37" fmla="*/ 48 h 630"/>
                <a:gd name="T38" fmla="*/ 600 w 816"/>
                <a:gd name="T39" fmla="*/ 24 h 630"/>
                <a:gd name="T40" fmla="*/ 630 w 816"/>
                <a:gd name="T41" fmla="*/ 0 h 630"/>
                <a:gd name="T42" fmla="*/ 684 w 816"/>
                <a:gd name="T43" fmla="*/ 12 h 630"/>
                <a:gd name="T44" fmla="*/ 732 w 816"/>
                <a:gd name="T45" fmla="*/ 12 h 630"/>
                <a:gd name="T46" fmla="*/ 768 w 816"/>
                <a:gd name="T47" fmla="*/ 102 h 630"/>
                <a:gd name="T48" fmla="*/ 768 w 816"/>
                <a:gd name="T49" fmla="*/ 168 h 630"/>
                <a:gd name="T50" fmla="*/ 744 w 816"/>
                <a:gd name="T51" fmla="*/ 180 h 630"/>
                <a:gd name="T52" fmla="*/ 714 w 816"/>
                <a:gd name="T53" fmla="*/ 228 h 630"/>
                <a:gd name="T54" fmla="*/ 750 w 816"/>
                <a:gd name="T55" fmla="*/ 258 h 630"/>
                <a:gd name="T56" fmla="*/ 816 w 816"/>
                <a:gd name="T57" fmla="*/ 240 h 630"/>
                <a:gd name="T58" fmla="*/ 798 w 816"/>
                <a:gd name="T59" fmla="*/ 300 h 630"/>
                <a:gd name="T60" fmla="*/ 762 w 816"/>
                <a:gd name="T61" fmla="*/ 336 h 630"/>
                <a:gd name="T62" fmla="*/ 720 w 816"/>
                <a:gd name="T63" fmla="*/ 378 h 630"/>
                <a:gd name="T64" fmla="*/ 702 w 816"/>
                <a:gd name="T65" fmla="*/ 414 h 630"/>
                <a:gd name="T66" fmla="*/ 672 w 816"/>
                <a:gd name="T67" fmla="*/ 456 h 630"/>
                <a:gd name="T68" fmla="*/ 636 w 816"/>
                <a:gd name="T69" fmla="*/ 486 h 630"/>
                <a:gd name="T70" fmla="*/ 612 w 816"/>
                <a:gd name="T71" fmla="*/ 510 h 630"/>
                <a:gd name="T72" fmla="*/ 582 w 816"/>
                <a:gd name="T73" fmla="*/ 528 h 630"/>
                <a:gd name="T74" fmla="*/ 540 w 816"/>
                <a:gd name="T75" fmla="*/ 558 h 630"/>
                <a:gd name="T76" fmla="*/ 504 w 816"/>
                <a:gd name="T77" fmla="*/ 570 h 630"/>
                <a:gd name="T78" fmla="*/ 456 w 816"/>
                <a:gd name="T79" fmla="*/ 582 h 630"/>
                <a:gd name="T80" fmla="*/ 420 w 816"/>
                <a:gd name="T81" fmla="*/ 594 h 630"/>
                <a:gd name="T82" fmla="*/ 378 w 816"/>
                <a:gd name="T83" fmla="*/ 588 h 630"/>
                <a:gd name="T84" fmla="*/ 324 w 816"/>
                <a:gd name="T85" fmla="*/ 594 h 630"/>
                <a:gd name="T86" fmla="*/ 312 w 816"/>
                <a:gd name="T87" fmla="*/ 588 h 630"/>
                <a:gd name="T88" fmla="*/ 264 w 816"/>
                <a:gd name="T89" fmla="*/ 606 h 630"/>
                <a:gd name="T90" fmla="*/ 234 w 816"/>
                <a:gd name="T91" fmla="*/ 606 h 630"/>
                <a:gd name="T92" fmla="*/ 198 w 816"/>
                <a:gd name="T93" fmla="*/ 618 h 630"/>
                <a:gd name="T94" fmla="*/ 156 w 816"/>
                <a:gd name="T95" fmla="*/ 630 h 630"/>
                <a:gd name="T96" fmla="*/ 126 w 816"/>
                <a:gd name="T97" fmla="*/ 606 h 630"/>
                <a:gd name="T98" fmla="*/ 108 w 816"/>
                <a:gd name="T99" fmla="*/ 594 h 630"/>
                <a:gd name="T100" fmla="*/ 96 w 816"/>
                <a:gd name="T101" fmla="*/ 600 h 630"/>
                <a:gd name="T102" fmla="*/ 96 w 816"/>
                <a:gd name="T103" fmla="*/ 582 h 630"/>
                <a:gd name="T104" fmla="*/ 78 w 816"/>
                <a:gd name="T105" fmla="*/ 546 h 630"/>
                <a:gd name="T106" fmla="*/ 66 w 816"/>
                <a:gd name="T107" fmla="*/ 534 h 630"/>
                <a:gd name="T108" fmla="*/ 78 w 816"/>
                <a:gd name="T109" fmla="*/ 528 h 630"/>
                <a:gd name="T110" fmla="*/ 90 w 816"/>
                <a:gd name="T111" fmla="*/ 480 h 630"/>
                <a:gd name="T112" fmla="*/ 60 w 816"/>
                <a:gd name="T113" fmla="*/ 438 h 630"/>
                <a:gd name="T114" fmla="*/ 36 w 816"/>
                <a:gd name="T115" fmla="*/ 396 h 630"/>
                <a:gd name="T116" fmla="*/ 18 w 816"/>
                <a:gd name="T117" fmla="*/ 342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16"/>
                <a:gd name="T178" fmla="*/ 0 h 630"/>
                <a:gd name="T179" fmla="*/ 816 w 816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48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3197" y="3569"/>
              <a:ext cx="107" cy="87"/>
            </a:xfrm>
            <a:custGeom>
              <a:avLst/>
              <a:gdLst>
                <a:gd name="T0" fmla="*/ 108 w 126"/>
                <a:gd name="T1" fmla="*/ 72 h 102"/>
                <a:gd name="T2" fmla="*/ 108 w 126"/>
                <a:gd name="T3" fmla="*/ 60 h 102"/>
                <a:gd name="T4" fmla="*/ 114 w 126"/>
                <a:gd name="T5" fmla="*/ 54 h 102"/>
                <a:gd name="T6" fmla="*/ 120 w 126"/>
                <a:gd name="T7" fmla="*/ 42 h 102"/>
                <a:gd name="T8" fmla="*/ 126 w 126"/>
                <a:gd name="T9" fmla="*/ 36 h 102"/>
                <a:gd name="T10" fmla="*/ 120 w 126"/>
                <a:gd name="T11" fmla="*/ 30 h 102"/>
                <a:gd name="T12" fmla="*/ 108 w 126"/>
                <a:gd name="T13" fmla="*/ 24 h 102"/>
                <a:gd name="T14" fmla="*/ 96 w 126"/>
                <a:gd name="T15" fmla="*/ 18 h 102"/>
                <a:gd name="T16" fmla="*/ 90 w 126"/>
                <a:gd name="T17" fmla="*/ 12 h 102"/>
                <a:gd name="T18" fmla="*/ 84 w 126"/>
                <a:gd name="T19" fmla="*/ 6 h 102"/>
                <a:gd name="T20" fmla="*/ 78 w 126"/>
                <a:gd name="T21" fmla="*/ 0 h 102"/>
                <a:gd name="T22" fmla="*/ 72 w 126"/>
                <a:gd name="T23" fmla="*/ 6 h 102"/>
                <a:gd name="T24" fmla="*/ 72 w 126"/>
                <a:gd name="T25" fmla="*/ 6 h 102"/>
                <a:gd name="T26" fmla="*/ 60 w 126"/>
                <a:gd name="T27" fmla="*/ 6 h 102"/>
                <a:gd name="T28" fmla="*/ 54 w 126"/>
                <a:gd name="T29" fmla="*/ 12 h 102"/>
                <a:gd name="T30" fmla="*/ 48 w 126"/>
                <a:gd name="T31" fmla="*/ 18 h 102"/>
                <a:gd name="T32" fmla="*/ 48 w 126"/>
                <a:gd name="T33" fmla="*/ 18 h 102"/>
                <a:gd name="T34" fmla="*/ 36 w 126"/>
                <a:gd name="T35" fmla="*/ 18 h 102"/>
                <a:gd name="T36" fmla="*/ 36 w 126"/>
                <a:gd name="T37" fmla="*/ 18 h 102"/>
                <a:gd name="T38" fmla="*/ 36 w 126"/>
                <a:gd name="T39" fmla="*/ 30 h 102"/>
                <a:gd name="T40" fmla="*/ 30 w 126"/>
                <a:gd name="T41" fmla="*/ 36 h 102"/>
                <a:gd name="T42" fmla="*/ 24 w 126"/>
                <a:gd name="T43" fmla="*/ 42 h 102"/>
                <a:gd name="T44" fmla="*/ 18 w 126"/>
                <a:gd name="T45" fmla="*/ 48 h 102"/>
                <a:gd name="T46" fmla="*/ 6 w 126"/>
                <a:gd name="T47" fmla="*/ 48 h 102"/>
                <a:gd name="T48" fmla="*/ 0 w 126"/>
                <a:gd name="T49" fmla="*/ 54 h 102"/>
                <a:gd name="T50" fmla="*/ 6 w 126"/>
                <a:gd name="T51" fmla="*/ 60 h 102"/>
                <a:gd name="T52" fmla="*/ 18 w 126"/>
                <a:gd name="T53" fmla="*/ 78 h 102"/>
                <a:gd name="T54" fmla="*/ 18 w 126"/>
                <a:gd name="T55" fmla="*/ 78 h 102"/>
                <a:gd name="T56" fmla="*/ 24 w 126"/>
                <a:gd name="T57" fmla="*/ 84 h 102"/>
                <a:gd name="T58" fmla="*/ 18 w 126"/>
                <a:gd name="T59" fmla="*/ 90 h 102"/>
                <a:gd name="T60" fmla="*/ 30 w 126"/>
                <a:gd name="T61" fmla="*/ 90 h 102"/>
                <a:gd name="T62" fmla="*/ 36 w 126"/>
                <a:gd name="T63" fmla="*/ 96 h 102"/>
                <a:gd name="T64" fmla="*/ 42 w 126"/>
                <a:gd name="T65" fmla="*/ 102 h 102"/>
                <a:gd name="T66" fmla="*/ 54 w 126"/>
                <a:gd name="T67" fmla="*/ 102 h 102"/>
                <a:gd name="T68" fmla="*/ 60 w 126"/>
                <a:gd name="T69" fmla="*/ 96 h 102"/>
                <a:gd name="T70" fmla="*/ 66 w 126"/>
                <a:gd name="T71" fmla="*/ 90 h 102"/>
                <a:gd name="T72" fmla="*/ 66 w 126"/>
                <a:gd name="T73" fmla="*/ 84 h 102"/>
                <a:gd name="T74" fmla="*/ 78 w 126"/>
                <a:gd name="T75" fmla="*/ 78 h 102"/>
                <a:gd name="T76" fmla="*/ 90 w 126"/>
                <a:gd name="T77" fmla="*/ 78 h 102"/>
                <a:gd name="T78" fmla="*/ 96 w 126"/>
                <a:gd name="T79" fmla="*/ 72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6"/>
                <a:gd name="T121" fmla="*/ 0 h 102"/>
                <a:gd name="T122" fmla="*/ 126 w 126"/>
                <a:gd name="T123" fmla="*/ 102 h 10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49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2555" y="3080"/>
              <a:ext cx="571" cy="505"/>
            </a:xfrm>
            <a:custGeom>
              <a:avLst/>
              <a:gdLst>
                <a:gd name="T0" fmla="*/ 12 w 672"/>
                <a:gd name="T1" fmla="*/ 12 h 594"/>
                <a:gd name="T2" fmla="*/ 36 w 672"/>
                <a:gd name="T3" fmla="*/ 18 h 594"/>
                <a:gd name="T4" fmla="*/ 54 w 672"/>
                <a:gd name="T5" fmla="*/ 6 h 594"/>
                <a:gd name="T6" fmla="*/ 84 w 672"/>
                <a:gd name="T7" fmla="*/ 0 h 594"/>
                <a:gd name="T8" fmla="*/ 90 w 672"/>
                <a:gd name="T9" fmla="*/ 12 h 594"/>
                <a:gd name="T10" fmla="*/ 108 w 672"/>
                <a:gd name="T11" fmla="*/ 24 h 594"/>
                <a:gd name="T12" fmla="*/ 258 w 672"/>
                <a:gd name="T13" fmla="*/ 24 h 594"/>
                <a:gd name="T14" fmla="*/ 342 w 672"/>
                <a:gd name="T15" fmla="*/ 30 h 594"/>
                <a:gd name="T16" fmla="*/ 360 w 672"/>
                <a:gd name="T17" fmla="*/ 42 h 594"/>
                <a:gd name="T18" fmla="*/ 384 w 672"/>
                <a:gd name="T19" fmla="*/ 48 h 594"/>
                <a:gd name="T20" fmla="*/ 384 w 672"/>
                <a:gd name="T21" fmla="*/ 42 h 594"/>
                <a:gd name="T22" fmla="*/ 396 w 672"/>
                <a:gd name="T23" fmla="*/ 48 h 594"/>
                <a:gd name="T24" fmla="*/ 420 w 672"/>
                <a:gd name="T25" fmla="*/ 48 h 594"/>
                <a:gd name="T26" fmla="*/ 438 w 672"/>
                <a:gd name="T27" fmla="*/ 48 h 594"/>
                <a:gd name="T28" fmla="*/ 456 w 672"/>
                <a:gd name="T29" fmla="*/ 48 h 594"/>
                <a:gd name="T30" fmla="*/ 552 w 672"/>
                <a:gd name="T31" fmla="*/ 36 h 594"/>
                <a:gd name="T32" fmla="*/ 630 w 672"/>
                <a:gd name="T33" fmla="*/ 30 h 594"/>
                <a:gd name="T34" fmla="*/ 648 w 672"/>
                <a:gd name="T35" fmla="*/ 30 h 594"/>
                <a:gd name="T36" fmla="*/ 666 w 672"/>
                <a:gd name="T37" fmla="*/ 42 h 594"/>
                <a:gd name="T38" fmla="*/ 648 w 672"/>
                <a:gd name="T39" fmla="*/ 42 h 594"/>
                <a:gd name="T40" fmla="*/ 630 w 672"/>
                <a:gd name="T41" fmla="*/ 48 h 594"/>
                <a:gd name="T42" fmla="*/ 612 w 672"/>
                <a:gd name="T43" fmla="*/ 60 h 594"/>
                <a:gd name="T44" fmla="*/ 594 w 672"/>
                <a:gd name="T45" fmla="*/ 72 h 594"/>
                <a:gd name="T46" fmla="*/ 582 w 672"/>
                <a:gd name="T47" fmla="*/ 60 h 594"/>
                <a:gd name="T48" fmla="*/ 480 w 672"/>
                <a:gd name="T49" fmla="*/ 66 h 594"/>
                <a:gd name="T50" fmla="*/ 408 w 672"/>
                <a:gd name="T51" fmla="*/ 390 h 594"/>
                <a:gd name="T52" fmla="*/ 396 w 672"/>
                <a:gd name="T53" fmla="*/ 570 h 594"/>
                <a:gd name="T54" fmla="*/ 378 w 672"/>
                <a:gd name="T55" fmla="*/ 588 h 594"/>
                <a:gd name="T56" fmla="*/ 360 w 672"/>
                <a:gd name="T57" fmla="*/ 594 h 594"/>
                <a:gd name="T58" fmla="*/ 336 w 672"/>
                <a:gd name="T59" fmla="*/ 594 h 594"/>
                <a:gd name="T60" fmla="*/ 312 w 672"/>
                <a:gd name="T61" fmla="*/ 588 h 594"/>
                <a:gd name="T62" fmla="*/ 288 w 672"/>
                <a:gd name="T63" fmla="*/ 582 h 594"/>
                <a:gd name="T64" fmla="*/ 282 w 672"/>
                <a:gd name="T65" fmla="*/ 570 h 594"/>
                <a:gd name="T66" fmla="*/ 270 w 672"/>
                <a:gd name="T67" fmla="*/ 552 h 594"/>
                <a:gd name="T68" fmla="*/ 252 w 672"/>
                <a:gd name="T69" fmla="*/ 564 h 594"/>
                <a:gd name="T70" fmla="*/ 246 w 672"/>
                <a:gd name="T71" fmla="*/ 570 h 594"/>
                <a:gd name="T72" fmla="*/ 228 w 672"/>
                <a:gd name="T73" fmla="*/ 576 h 594"/>
                <a:gd name="T74" fmla="*/ 210 w 672"/>
                <a:gd name="T75" fmla="*/ 558 h 594"/>
                <a:gd name="T76" fmla="*/ 192 w 672"/>
                <a:gd name="T77" fmla="*/ 540 h 594"/>
                <a:gd name="T78" fmla="*/ 174 w 672"/>
                <a:gd name="T79" fmla="*/ 516 h 594"/>
                <a:gd name="T80" fmla="*/ 168 w 672"/>
                <a:gd name="T81" fmla="*/ 492 h 594"/>
                <a:gd name="T82" fmla="*/ 162 w 672"/>
                <a:gd name="T83" fmla="*/ 480 h 594"/>
                <a:gd name="T84" fmla="*/ 168 w 672"/>
                <a:gd name="T85" fmla="*/ 468 h 594"/>
                <a:gd name="T86" fmla="*/ 162 w 672"/>
                <a:gd name="T87" fmla="*/ 456 h 594"/>
                <a:gd name="T88" fmla="*/ 150 w 672"/>
                <a:gd name="T89" fmla="*/ 438 h 594"/>
                <a:gd name="T90" fmla="*/ 150 w 672"/>
                <a:gd name="T91" fmla="*/ 420 h 594"/>
                <a:gd name="T92" fmla="*/ 150 w 672"/>
                <a:gd name="T93" fmla="*/ 402 h 594"/>
                <a:gd name="T94" fmla="*/ 144 w 672"/>
                <a:gd name="T95" fmla="*/ 378 h 594"/>
                <a:gd name="T96" fmla="*/ 132 w 672"/>
                <a:gd name="T97" fmla="*/ 354 h 594"/>
                <a:gd name="T98" fmla="*/ 138 w 672"/>
                <a:gd name="T99" fmla="*/ 330 h 594"/>
                <a:gd name="T100" fmla="*/ 138 w 672"/>
                <a:gd name="T101" fmla="*/ 312 h 594"/>
                <a:gd name="T102" fmla="*/ 138 w 672"/>
                <a:gd name="T103" fmla="*/ 300 h 594"/>
                <a:gd name="T104" fmla="*/ 132 w 672"/>
                <a:gd name="T105" fmla="*/ 270 h 594"/>
                <a:gd name="T106" fmla="*/ 114 w 672"/>
                <a:gd name="T107" fmla="*/ 246 h 594"/>
                <a:gd name="T108" fmla="*/ 102 w 672"/>
                <a:gd name="T109" fmla="*/ 228 h 594"/>
                <a:gd name="T110" fmla="*/ 90 w 672"/>
                <a:gd name="T111" fmla="*/ 204 h 594"/>
                <a:gd name="T112" fmla="*/ 78 w 672"/>
                <a:gd name="T113" fmla="*/ 186 h 594"/>
                <a:gd name="T114" fmla="*/ 66 w 672"/>
                <a:gd name="T115" fmla="*/ 156 h 594"/>
                <a:gd name="T116" fmla="*/ 54 w 672"/>
                <a:gd name="T117" fmla="*/ 132 h 594"/>
                <a:gd name="T118" fmla="*/ 36 w 672"/>
                <a:gd name="T119" fmla="*/ 96 h 594"/>
                <a:gd name="T120" fmla="*/ 12 w 672"/>
                <a:gd name="T121" fmla="*/ 78 h 594"/>
                <a:gd name="T122" fmla="*/ 0 w 672"/>
                <a:gd name="T123" fmla="*/ 48 h 594"/>
                <a:gd name="T124" fmla="*/ 0 w 672"/>
                <a:gd name="T125" fmla="*/ 18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2"/>
                <a:gd name="T190" fmla="*/ 0 h 594"/>
                <a:gd name="T191" fmla="*/ 672 w 672"/>
                <a:gd name="T192" fmla="*/ 594 h 59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50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3360" y="3452"/>
              <a:ext cx="56" cy="66"/>
            </a:xfrm>
            <a:custGeom>
              <a:avLst/>
              <a:gdLst>
                <a:gd name="T0" fmla="*/ 54 w 66"/>
                <a:gd name="T1" fmla="*/ 6 h 78"/>
                <a:gd name="T2" fmla="*/ 60 w 66"/>
                <a:gd name="T3" fmla="*/ 12 h 78"/>
                <a:gd name="T4" fmla="*/ 60 w 66"/>
                <a:gd name="T5" fmla="*/ 18 h 78"/>
                <a:gd name="T6" fmla="*/ 60 w 66"/>
                <a:gd name="T7" fmla="*/ 24 h 78"/>
                <a:gd name="T8" fmla="*/ 60 w 66"/>
                <a:gd name="T9" fmla="*/ 30 h 78"/>
                <a:gd name="T10" fmla="*/ 66 w 66"/>
                <a:gd name="T11" fmla="*/ 36 h 78"/>
                <a:gd name="T12" fmla="*/ 66 w 66"/>
                <a:gd name="T13" fmla="*/ 54 h 78"/>
                <a:gd name="T14" fmla="*/ 60 w 66"/>
                <a:gd name="T15" fmla="*/ 54 h 78"/>
                <a:gd name="T16" fmla="*/ 54 w 66"/>
                <a:gd name="T17" fmla="*/ 60 h 78"/>
                <a:gd name="T18" fmla="*/ 54 w 66"/>
                <a:gd name="T19" fmla="*/ 66 h 78"/>
                <a:gd name="T20" fmla="*/ 54 w 66"/>
                <a:gd name="T21" fmla="*/ 78 h 78"/>
                <a:gd name="T22" fmla="*/ 36 w 66"/>
                <a:gd name="T23" fmla="*/ 78 h 78"/>
                <a:gd name="T24" fmla="*/ 30 w 66"/>
                <a:gd name="T25" fmla="*/ 78 h 78"/>
                <a:gd name="T26" fmla="*/ 24 w 66"/>
                <a:gd name="T27" fmla="*/ 72 h 78"/>
                <a:gd name="T28" fmla="*/ 18 w 66"/>
                <a:gd name="T29" fmla="*/ 72 h 78"/>
                <a:gd name="T30" fmla="*/ 12 w 66"/>
                <a:gd name="T31" fmla="*/ 66 h 78"/>
                <a:gd name="T32" fmla="*/ 6 w 66"/>
                <a:gd name="T33" fmla="*/ 60 h 78"/>
                <a:gd name="T34" fmla="*/ 6 w 66"/>
                <a:gd name="T35" fmla="*/ 54 h 78"/>
                <a:gd name="T36" fmla="*/ 0 w 66"/>
                <a:gd name="T37" fmla="*/ 54 h 78"/>
                <a:gd name="T38" fmla="*/ 0 w 66"/>
                <a:gd name="T39" fmla="*/ 48 h 78"/>
                <a:gd name="T40" fmla="*/ 0 w 66"/>
                <a:gd name="T41" fmla="*/ 54 h 78"/>
                <a:gd name="T42" fmla="*/ 0 w 66"/>
                <a:gd name="T43" fmla="*/ 48 h 78"/>
                <a:gd name="T44" fmla="*/ 0 w 66"/>
                <a:gd name="T45" fmla="*/ 42 h 78"/>
                <a:gd name="T46" fmla="*/ 0 w 66"/>
                <a:gd name="T47" fmla="*/ 36 h 78"/>
                <a:gd name="T48" fmla="*/ 0 w 66"/>
                <a:gd name="T49" fmla="*/ 30 h 78"/>
                <a:gd name="T50" fmla="*/ 0 w 66"/>
                <a:gd name="T51" fmla="*/ 24 h 78"/>
                <a:gd name="T52" fmla="*/ 6 w 66"/>
                <a:gd name="T53" fmla="*/ 24 h 78"/>
                <a:gd name="T54" fmla="*/ 12 w 66"/>
                <a:gd name="T55" fmla="*/ 12 h 78"/>
                <a:gd name="T56" fmla="*/ 12 w 66"/>
                <a:gd name="T57" fmla="*/ 6 h 78"/>
                <a:gd name="T58" fmla="*/ 18 w 66"/>
                <a:gd name="T59" fmla="*/ 0 h 78"/>
                <a:gd name="T60" fmla="*/ 24 w 66"/>
                <a:gd name="T61" fmla="*/ 0 h 78"/>
                <a:gd name="T62" fmla="*/ 30 w 66"/>
                <a:gd name="T63" fmla="*/ 0 h 78"/>
                <a:gd name="T64" fmla="*/ 36 w 66"/>
                <a:gd name="T65" fmla="*/ 0 h 78"/>
                <a:gd name="T66" fmla="*/ 36 w 66"/>
                <a:gd name="T67" fmla="*/ 6 h 78"/>
                <a:gd name="T68" fmla="*/ 48 w 66"/>
                <a:gd name="T69" fmla="*/ 12 h 78"/>
                <a:gd name="T70" fmla="*/ 54 w 66"/>
                <a:gd name="T71" fmla="*/ 12 h 78"/>
                <a:gd name="T72" fmla="*/ 54 w 66"/>
                <a:gd name="T73" fmla="*/ 6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78"/>
                <a:gd name="T113" fmla="*/ 66 w 66"/>
                <a:gd name="T114" fmla="*/ 78 h 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51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3462" y="2845"/>
              <a:ext cx="133" cy="240"/>
            </a:xfrm>
            <a:custGeom>
              <a:avLst/>
              <a:gdLst>
                <a:gd name="T0" fmla="*/ 0 w 156"/>
                <a:gd name="T1" fmla="*/ 132 h 282"/>
                <a:gd name="T2" fmla="*/ 6 w 156"/>
                <a:gd name="T3" fmla="*/ 144 h 282"/>
                <a:gd name="T4" fmla="*/ 18 w 156"/>
                <a:gd name="T5" fmla="*/ 150 h 282"/>
                <a:gd name="T6" fmla="*/ 30 w 156"/>
                <a:gd name="T7" fmla="*/ 156 h 282"/>
                <a:gd name="T8" fmla="*/ 42 w 156"/>
                <a:gd name="T9" fmla="*/ 150 h 282"/>
                <a:gd name="T10" fmla="*/ 60 w 156"/>
                <a:gd name="T11" fmla="*/ 150 h 282"/>
                <a:gd name="T12" fmla="*/ 66 w 156"/>
                <a:gd name="T13" fmla="*/ 162 h 282"/>
                <a:gd name="T14" fmla="*/ 66 w 156"/>
                <a:gd name="T15" fmla="*/ 174 h 282"/>
                <a:gd name="T16" fmla="*/ 66 w 156"/>
                <a:gd name="T17" fmla="*/ 192 h 282"/>
                <a:gd name="T18" fmla="*/ 66 w 156"/>
                <a:gd name="T19" fmla="*/ 198 h 282"/>
                <a:gd name="T20" fmla="*/ 60 w 156"/>
                <a:gd name="T21" fmla="*/ 210 h 282"/>
                <a:gd name="T22" fmla="*/ 48 w 156"/>
                <a:gd name="T23" fmla="*/ 216 h 282"/>
                <a:gd name="T24" fmla="*/ 54 w 156"/>
                <a:gd name="T25" fmla="*/ 228 h 282"/>
                <a:gd name="T26" fmla="*/ 54 w 156"/>
                <a:gd name="T27" fmla="*/ 234 h 282"/>
                <a:gd name="T28" fmla="*/ 60 w 156"/>
                <a:gd name="T29" fmla="*/ 246 h 282"/>
                <a:gd name="T30" fmla="*/ 66 w 156"/>
                <a:gd name="T31" fmla="*/ 252 h 282"/>
                <a:gd name="T32" fmla="*/ 78 w 156"/>
                <a:gd name="T33" fmla="*/ 258 h 282"/>
                <a:gd name="T34" fmla="*/ 84 w 156"/>
                <a:gd name="T35" fmla="*/ 270 h 282"/>
                <a:gd name="T36" fmla="*/ 96 w 156"/>
                <a:gd name="T37" fmla="*/ 276 h 282"/>
                <a:gd name="T38" fmla="*/ 102 w 156"/>
                <a:gd name="T39" fmla="*/ 282 h 282"/>
                <a:gd name="T40" fmla="*/ 102 w 156"/>
                <a:gd name="T41" fmla="*/ 264 h 282"/>
                <a:gd name="T42" fmla="*/ 96 w 156"/>
                <a:gd name="T43" fmla="*/ 252 h 282"/>
                <a:gd name="T44" fmla="*/ 102 w 156"/>
                <a:gd name="T45" fmla="*/ 240 h 282"/>
                <a:gd name="T46" fmla="*/ 114 w 156"/>
                <a:gd name="T47" fmla="*/ 234 h 282"/>
                <a:gd name="T48" fmla="*/ 126 w 156"/>
                <a:gd name="T49" fmla="*/ 228 h 282"/>
                <a:gd name="T50" fmla="*/ 126 w 156"/>
                <a:gd name="T51" fmla="*/ 186 h 282"/>
                <a:gd name="T52" fmla="*/ 114 w 156"/>
                <a:gd name="T53" fmla="*/ 144 h 282"/>
                <a:gd name="T54" fmla="*/ 90 w 156"/>
                <a:gd name="T55" fmla="*/ 114 h 282"/>
                <a:gd name="T56" fmla="*/ 66 w 156"/>
                <a:gd name="T57" fmla="*/ 102 h 282"/>
                <a:gd name="T58" fmla="*/ 66 w 156"/>
                <a:gd name="T59" fmla="*/ 90 h 282"/>
                <a:gd name="T60" fmla="*/ 60 w 156"/>
                <a:gd name="T61" fmla="*/ 72 h 282"/>
                <a:gd name="T62" fmla="*/ 60 w 156"/>
                <a:gd name="T63" fmla="*/ 48 h 282"/>
                <a:gd name="T64" fmla="*/ 60 w 156"/>
                <a:gd name="T65" fmla="*/ 36 h 282"/>
                <a:gd name="T66" fmla="*/ 66 w 156"/>
                <a:gd name="T67" fmla="*/ 12 h 282"/>
                <a:gd name="T68" fmla="*/ 102 w 156"/>
                <a:gd name="T69" fmla="*/ 6 h 282"/>
                <a:gd name="T70" fmla="*/ 108 w 156"/>
                <a:gd name="T71" fmla="*/ 6 h 282"/>
                <a:gd name="T72" fmla="*/ 114 w 156"/>
                <a:gd name="T73" fmla="*/ 6 h 282"/>
                <a:gd name="T74" fmla="*/ 114 w 156"/>
                <a:gd name="T75" fmla="*/ 12 h 282"/>
                <a:gd name="T76" fmla="*/ 120 w 156"/>
                <a:gd name="T77" fmla="*/ 6 h 282"/>
                <a:gd name="T78" fmla="*/ 132 w 156"/>
                <a:gd name="T79" fmla="*/ 0 h 282"/>
                <a:gd name="T80" fmla="*/ 144 w 156"/>
                <a:gd name="T81" fmla="*/ 6 h 282"/>
                <a:gd name="T82" fmla="*/ 150 w 156"/>
                <a:gd name="T83" fmla="*/ 12 h 282"/>
                <a:gd name="T84" fmla="*/ 156 w 156"/>
                <a:gd name="T85" fmla="*/ 12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6"/>
                <a:gd name="T130" fmla="*/ 0 h 282"/>
                <a:gd name="T131" fmla="*/ 156 w 156"/>
                <a:gd name="T132" fmla="*/ 282 h 2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5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3881" y="2866"/>
              <a:ext cx="311" cy="581"/>
            </a:xfrm>
            <a:custGeom>
              <a:avLst/>
              <a:gdLst>
                <a:gd name="T0" fmla="*/ 66 w 366"/>
                <a:gd name="T1" fmla="*/ 372 h 684"/>
                <a:gd name="T2" fmla="*/ 54 w 366"/>
                <a:gd name="T3" fmla="*/ 360 h 684"/>
                <a:gd name="T4" fmla="*/ 42 w 366"/>
                <a:gd name="T5" fmla="*/ 324 h 684"/>
                <a:gd name="T6" fmla="*/ 36 w 366"/>
                <a:gd name="T7" fmla="*/ 288 h 684"/>
                <a:gd name="T8" fmla="*/ 42 w 366"/>
                <a:gd name="T9" fmla="*/ 270 h 684"/>
                <a:gd name="T10" fmla="*/ 54 w 366"/>
                <a:gd name="T11" fmla="*/ 246 h 684"/>
                <a:gd name="T12" fmla="*/ 66 w 366"/>
                <a:gd name="T13" fmla="*/ 228 h 684"/>
                <a:gd name="T14" fmla="*/ 96 w 366"/>
                <a:gd name="T15" fmla="*/ 210 h 684"/>
                <a:gd name="T16" fmla="*/ 108 w 366"/>
                <a:gd name="T17" fmla="*/ 204 h 684"/>
                <a:gd name="T18" fmla="*/ 120 w 366"/>
                <a:gd name="T19" fmla="*/ 210 h 684"/>
                <a:gd name="T20" fmla="*/ 132 w 366"/>
                <a:gd name="T21" fmla="*/ 192 h 684"/>
                <a:gd name="T22" fmla="*/ 150 w 366"/>
                <a:gd name="T23" fmla="*/ 192 h 684"/>
                <a:gd name="T24" fmla="*/ 162 w 366"/>
                <a:gd name="T25" fmla="*/ 198 h 684"/>
                <a:gd name="T26" fmla="*/ 168 w 366"/>
                <a:gd name="T27" fmla="*/ 180 h 684"/>
                <a:gd name="T28" fmla="*/ 192 w 366"/>
                <a:gd name="T29" fmla="*/ 168 h 684"/>
                <a:gd name="T30" fmla="*/ 198 w 366"/>
                <a:gd name="T31" fmla="*/ 168 h 684"/>
                <a:gd name="T32" fmla="*/ 204 w 366"/>
                <a:gd name="T33" fmla="*/ 156 h 684"/>
                <a:gd name="T34" fmla="*/ 216 w 366"/>
                <a:gd name="T35" fmla="*/ 144 h 684"/>
                <a:gd name="T36" fmla="*/ 222 w 366"/>
                <a:gd name="T37" fmla="*/ 138 h 684"/>
                <a:gd name="T38" fmla="*/ 228 w 366"/>
                <a:gd name="T39" fmla="*/ 120 h 684"/>
                <a:gd name="T40" fmla="*/ 240 w 366"/>
                <a:gd name="T41" fmla="*/ 120 h 684"/>
                <a:gd name="T42" fmla="*/ 240 w 366"/>
                <a:gd name="T43" fmla="*/ 102 h 684"/>
                <a:gd name="T44" fmla="*/ 240 w 366"/>
                <a:gd name="T45" fmla="*/ 84 h 684"/>
                <a:gd name="T46" fmla="*/ 264 w 366"/>
                <a:gd name="T47" fmla="*/ 84 h 684"/>
                <a:gd name="T48" fmla="*/ 276 w 366"/>
                <a:gd name="T49" fmla="*/ 72 h 684"/>
                <a:gd name="T50" fmla="*/ 288 w 366"/>
                <a:gd name="T51" fmla="*/ 54 h 684"/>
                <a:gd name="T52" fmla="*/ 276 w 366"/>
                <a:gd name="T53" fmla="*/ 24 h 684"/>
                <a:gd name="T54" fmla="*/ 294 w 366"/>
                <a:gd name="T55" fmla="*/ 12 h 684"/>
                <a:gd name="T56" fmla="*/ 300 w 366"/>
                <a:gd name="T57" fmla="*/ 0 h 684"/>
                <a:gd name="T58" fmla="*/ 306 w 366"/>
                <a:gd name="T59" fmla="*/ 18 h 684"/>
                <a:gd name="T60" fmla="*/ 312 w 366"/>
                <a:gd name="T61" fmla="*/ 18 h 684"/>
                <a:gd name="T62" fmla="*/ 324 w 366"/>
                <a:gd name="T63" fmla="*/ 42 h 684"/>
                <a:gd name="T64" fmla="*/ 336 w 366"/>
                <a:gd name="T65" fmla="*/ 60 h 684"/>
                <a:gd name="T66" fmla="*/ 348 w 366"/>
                <a:gd name="T67" fmla="*/ 102 h 684"/>
                <a:gd name="T68" fmla="*/ 354 w 366"/>
                <a:gd name="T69" fmla="*/ 150 h 684"/>
                <a:gd name="T70" fmla="*/ 360 w 366"/>
                <a:gd name="T71" fmla="*/ 180 h 684"/>
                <a:gd name="T72" fmla="*/ 336 w 366"/>
                <a:gd name="T73" fmla="*/ 192 h 684"/>
                <a:gd name="T74" fmla="*/ 324 w 366"/>
                <a:gd name="T75" fmla="*/ 180 h 684"/>
                <a:gd name="T76" fmla="*/ 330 w 366"/>
                <a:gd name="T77" fmla="*/ 216 h 684"/>
                <a:gd name="T78" fmla="*/ 330 w 366"/>
                <a:gd name="T79" fmla="*/ 246 h 684"/>
                <a:gd name="T80" fmla="*/ 312 w 366"/>
                <a:gd name="T81" fmla="*/ 288 h 684"/>
                <a:gd name="T82" fmla="*/ 306 w 366"/>
                <a:gd name="T83" fmla="*/ 330 h 684"/>
                <a:gd name="T84" fmla="*/ 276 w 366"/>
                <a:gd name="T85" fmla="*/ 408 h 684"/>
                <a:gd name="T86" fmla="*/ 258 w 366"/>
                <a:gd name="T87" fmla="*/ 474 h 684"/>
                <a:gd name="T88" fmla="*/ 234 w 366"/>
                <a:gd name="T89" fmla="*/ 534 h 684"/>
                <a:gd name="T90" fmla="*/ 222 w 366"/>
                <a:gd name="T91" fmla="*/ 582 h 684"/>
                <a:gd name="T92" fmla="*/ 204 w 366"/>
                <a:gd name="T93" fmla="*/ 630 h 684"/>
                <a:gd name="T94" fmla="*/ 180 w 366"/>
                <a:gd name="T95" fmla="*/ 654 h 684"/>
                <a:gd name="T96" fmla="*/ 132 w 366"/>
                <a:gd name="T97" fmla="*/ 672 h 684"/>
                <a:gd name="T98" fmla="*/ 96 w 366"/>
                <a:gd name="T99" fmla="*/ 678 h 684"/>
                <a:gd name="T100" fmla="*/ 48 w 366"/>
                <a:gd name="T101" fmla="*/ 654 h 684"/>
                <a:gd name="T102" fmla="*/ 24 w 366"/>
                <a:gd name="T103" fmla="*/ 618 h 684"/>
                <a:gd name="T104" fmla="*/ 30 w 366"/>
                <a:gd name="T105" fmla="*/ 570 h 684"/>
                <a:gd name="T106" fmla="*/ 6 w 366"/>
                <a:gd name="T107" fmla="*/ 534 h 684"/>
                <a:gd name="T108" fmla="*/ 6 w 366"/>
                <a:gd name="T109" fmla="*/ 492 h 684"/>
                <a:gd name="T110" fmla="*/ 18 w 366"/>
                <a:gd name="T111" fmla="*/ 480 h 684"/>
                <a:gd name="T112" fmla="*/ 18 w 366"/>
                <a:gd name="T113" fmla="*/ 474 h 684"/>
                <a:gd name="T114" fmla="*/ 36 w 366"/>
                <a:gd name="T115" fmla="*/ 462 h 684"/>
                <a:gd name="T116" fmla="*/ 42 w 366"/>
                <a:gd name="T117" fmla="*/ 444 h 684"/>
                <a:gd name="T118" fmla="*/ 60 w 366"/>
                <a:gd name="T119" fmla="*/ 414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6"/>
                <a:gd name="T181" fmla="*/ 0 h 684"/>
                <a:gd name="T182" fmla="*/ 366 w 366"/>
                <a:gd name="T183" fmla="*/ 684 h 6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53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3284" y="2463"/>
              <a:ext cx="76" cy="92"/>
            </a:xfrm>
            <a:custGeom>
              <a:avLst/>
              <a:gdLst>
                <a:gd name="T0" fmla="*/ 0 w 90"/>
                <a:gd name="T1" fmla="*/ 12 h 108"/>
                <a:gd name="T2" fmla="*/ 12 w 90"/>
                <a:gd name="T3" fmla="*/ 12 h 108"/>
                <a:gd name="T4" fmla="*/ 18 w 90"/>
                <a:gd name="T5" fmla="*/ 18 h 108"/>
                <a:gd name="T6" fmla="*/ 18 w 90"/>
                <a:gd name="T7" fmla="*/ 24 h 108"/>
                <a:gd name="T8" fmla="*/ 30 w 90"/>
                <a:gd name="T9" fmla="*/ 24 h 108"/>
                <a:gd name="T10" fmla="*/ 36 w 90"/>
                <a:gd name="T11" fmla="*/ 18 h 108"/>
                <a:gd name="T12" fmla="*/ 42 w 90"/>
                <a:gd name="T13" fmla="*/ 24 h 108"/>
                <a:gd name="T14" fmla="*/ 42 w 90"/>
                <a:gd name="T15" fmla="*/ 12 h 108"/>
                <a:gd name="T16" fmla="*/ 48 w 90"/>
                <a:gd name="T17" fmla="*/ 6 h 108"/>
                <a:gd name="T18" fmla="*/ 54 w 90"/>
                <a:gd name="T19" fmla="*/ 6 h 108"/>
                <a:gd name="T20" fmla="*/ 66 w 90"/>
                <a:gd name="T21" fmla="*/ 0 h 108"/>
                <a:gd name="T22" fmla="*/ 78 w 90"/>
                <a:gd name="T23" fmla="*/ 0 h 108"/>
                <a:gd name="T24" fmla="*/ 72 w 90"/>
                <a:gd name="T25" fmla="*/ 6 h 108"/>
                <a:gd name="T26" fmla="*/ 66 w 90"/>
                <a:gd name="T27" fmla="*/ 18 h 108"/>
                <a:gd name="T28" fmla="*/ 72 w 90"/>
                <a:gd name="T29" fmla="*/ 24 h 108"/>
                <a:gd name="T30" fmla="*/ 72 w 90"/>
                <a:gd name="T31" fmla="*/ 24 h 108"/>
                <a:gd name="T32" fmla="*/ 78 w 90"/>
                <a:gd name="T33" fmla="*/ 30 h 108"/>
                <a:gd name="T34" fmla="*/ 90 w 90"/>
                <a:gd name="T35" fmla="*/ 30 h 108"/>
                <a:gd name="T36" fmla="*/ 90 w 90"/>
                <a:gd name="T37" fmla="*/ 42 h 108"/>
                <a:gd name="T38" fmla="*/ 84 w 90"/>
                <a:gd name="T39" fmla="*/ 48 h 108"/>
                <a:gd name="T40" fmla="*/ 78 w 90"/>
                <a:gd name="T41" fmla="*/ 54 h 108"/>
                <a:gd name="T42" fmla="*/ 78 w 90"/>
                <a:gd name="T43" fmla="*/ 54 h 108"/>
                <a:gd name="T44" fmla="*/ 72 w 90"/>
                <a:gd name="T45" fmla="*/ 60 h 108"/>
                <a:gd name="T46" fmla="*/ 66 w 90"/>
                <a:gd name="T47" fmla="*/ 72 h 108"/>
                <a:gd name="T48" fmla="*/ 60 w 90"/>
                <a:gd name="T49" fmla="*/ 84 h 108"/>
                <a:gd name="T50" fmla="*/ 54 w 90"/>
                <a:gd name="T51" fmla="*/ 90 h 108"/>
                <a:gd name="T52" fmla="*/ 48 w 90"/>
                <a:gd name="T53" fmla="*/ 96 h 108"/>
                <a:gd name="T54" fmla="*/ 42 w 90"/>
                <a:gd name="T55" fmla="*/ 102 h 108"/>
                <a:gd name="T56" fmla="*/ 36 w 90"/>
                <a:gd name="T57" fmla="*/ 108 h 108"/>
                <a:gd name="T58" fmla="*/ 30 w 90"/>
                <a:gd name="T59" fmla="*/ 102 h 108"/>
                <a:gd name="T60" fmla="*/ 18 w 90"/>
                <a:gd name="T61" fmla="*/ 90 h 108"/>
                <a:gd name="T62" fmla="*/ 12 w 90"/>
                <a:gd name="T63" fmla="*/ 84 h 108"/>
                <a:gd name="T64" fmla="*/ 12 w 90"/>
                <a:gd name="T65" fmla="*/ 72 h 108"/>
                <a:gd name="T66" fmla="*/ 12 w 90"/>
                <a:gd name="T67" fmla="*/ 60 h 108"/>
                <a:gd name="T68" fmla="*/ 6 w 90"/>
                <a:gd name="T69" fmla="*/ 48 h 108"/>
                <a:gd name="T70" fmla="*/ 6 w 90"/>
                <a:gd name="T71" fmla="*/ 42 h 108"/>
                <a:gd name="T72" fmla="*/ 6 w 90"/>
                <a:gd name="T73" fmla="*/ 42 h 108"/>
                <a:gd name="T74" fmla="*/ 12 w 90"/>
                <a:gd name="T75" fmla="*/ 36 h 108"/>
                <a:gd name="T76" fmla="*/ 12 w 90"/>
                <a:gd name="T77" fmla="*/ 36 h 108"/>
                <a:gd name="T78" fmla="*/ 6 w 90"/>
                <a:gd name="T79" fmla="*/ 30 h 108"/>
                <a:gd name="T80" fmla="*/ 0 w 90"/>
                <a:gd name="T81" fmla="*/ 24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0"/>
                <a:gd name="T124" fmla="*/ 0 h 108"/>
                <a:gd name="T125" fmla="*/ 90 w 90"/>
                <a:gd name="T126" fmla="*/ 108 h 1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54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3437" y="2759"/>
              <a:ext cx="137" cy="326"/>
            </a:xfrm>
            <a:custGeom>
              <a:avLst/>
              <a:gdLst>
                <a:gd name="T0" fmla="*/ 24 w 162"/>
                <a:gd name="T1" fmla="*/ 6 h 384"/>
                <a:gd name="T2" fmla="*/ 42 w 162"/>
                <a:gd name="T3" fmla="*/ 12 h 384"/>
                <a:gd name="T4" fmla="*/ 60 w 162"/>
                <a:gd name="T5" fmla="*/ 18 h 384"/>
                <a:gd name="T6" fmla="*/ 72 w 162"/>
                <a:gd name="T7" fmla="*/ 6 h 384"/>
                <a:gd name="T8" fmla="*/ 84 w 162"/>
                <a:gd name="T9" fmla="*/ 18 h 384"/>
                <a:gd name="T10" fmla="*/ 90 w 162"/>
                <a:gd name="T11" fmla="*/ 36 h 384"/>
                <a:gd name="T12" fmla="*/ 96 w 162"/>
                <a:gd name="T13" fmla="*/ 60 h 384"/>
                <a:gd name="T14" fmla="*/ 96 w 162"/>
                <a:gd name="T15" fmla="*/ 84 h 384"/>
                <a:gd name="T16" fmla="*/ 108 w 162"/>
                <a:gd name="T17" fmla="*/ 96 h 384"/>
                <a:gd name="T18" fmla="*/ 96 w 162"/>
                <a:gd name="T19" fmla="*/ 108 h 384"/>
                <a:gd name="T20" fmla="*/ 90 w 162"/>
                <a:gd name="T21" fmla="*/ 138 h 384"/>
                <a:gd name="T22" fmla="*/ 90 w 162"/>
                <a:gd name="T23" fmla="*/ 162 h 384"/>
                <a:gd name="T24" fmla="*/ 96 w 162"/>
                <a:gd name="T25" fmla="*/ 186 h 384"/>
                <a:gd name="T26" fmla="*/ 96 w 162"/>
                <a:gd name="T27" fmla="*/ 204 h 384"/>
                <a:gd name="T28" fmla="*/ 126 w 162"/>
                <a:gd name="T29" fmla="*/ 222 h 384"/>
                <a:gd name="T30" fmla="*/ 162 w 162"/>
                <a:gd name="T31" fmla="*/ 276 h 384"/>
                <a:gd name="T32" fmla="*/ 156 w 162"/>
                <a:gd name="T33" fmla="*/ 330 h 384"/>
                <a:gd name="T34" fmla="*/ 138 w 162"/>
                <a:gd name="T35" fmla="*/ 336 h 384"/>
                <a:gd name="T36" fmla="*/ 132 w 162"/>
                <a:gd name="T37" fmla="*/ 354 h 384"/>
                <a:gd name="T38" fmla="*/ 132 w 162"/>
                <a:gd name="T39" fmla="*/ 366 h 384"/>
                <a:gd name="T40" fmla="*/ 120 w 162"/>
                <a:gd name="T41" fmla="*/ 384 h 384"/>
                <a:gd name="T42" fmla="*/ 120 w 162"/>
                <a:gd name="T43" fmla="*/ 372 h 384"/>
                <a:gd name="T44" fmla="*/ 108 w 162"/>
                <a:gd name="T45" fmla="*/ 360 h 384"/>
                <a:gd name="T46" fmla="*/ 96 w 162"/>
                <a:gd name="T47" fmla="*/ 348 h 384"/>
                <a:gd name="T48" fmla="*/ 84 w 162"/>
                <a:gd name="T49" fmla="*/ 342 h 384"/>
                <a:gd name="T50" fmla="*/ 84 w 162"/>
                <a:gd name="T51" fmla="*/ 330 h 384"/>
                <a:gd name="T52" fmla="*/ 84 w 162"/>
                <a:gd name="T53" fmla="*/ 318 h 384"/>
                <a:gd name="T54" fmla="*/ 90 w 162"/>
                <a:gd name="T55" fmla="*/ 300 h 384"/>
                <a:gd name="T56" fmla="*/ 96 w 162"/>
                <a:gd name="T57" fmla="*/ 294 h 384"/>
                <a:gd name="T58" fmla="*/ 96 w 162"/>
                <a:gd name="T59" fmla="*/ 270 h 384"/>
                <a:gd name="T60" fmla="*/ 90 w 162"/>
                <a:gd name="T61" fmla="*/ 258 h 384"/>
                <a:gd name="T62" fmla="*/ 72 w 162"/>
                <a:gd name="T63" fmla="*/ 252 h 384"/>
                <a:gd name="T64" fmla="*/ 54 w 162"/>
                <a:gd name="T65" fmla="*/ 258 h 384"/>
                <a:gd name="T66" fmla="*/ 42 w 162"/>
                <a:gd name="T67" fmla="*/ 246 h 384"/>
                <a:gd name="T68" fmla="*/ 30 w 162"/>
                <a:gd name="T69" fmla="*/ 234 h 384"/>
                <a:gd name="T70" fmla="*/ 18 w 162"/>
                <a:gd name="T71" fmla="*/ 228 h 384"/>
                <a:gd name="T72" fmla="*/ 12 w 162"/>
                <a:gd name="T73" fmla="*/ 222 h 384"/>
                <a:gd name="T74" fmla="*/ 6 w 162"/>
                <a:gd name="T75" fmla="*/ 216 h 384"/>
                <a:gd name="T76" fmla="*/ 0 w 162"/>
                <a:gd name="T77" fmla="*/ 210 h 384"/>
                <a:gd name="T78" fmla="*/ 12 w 162"/>
                <a:gd name="T79" fmla="*/ 192 h 384"/>
                <a:gd name="T80" fmla="*/ 18 w 162"/>
                <a:gd name="T81" fmla="*/ 174 h 384"/>
                <a:gd name="T82" fmla="*/ 18 w 162"/>
                <a:gd name="T83" fmla="*/ 162 h 384"/>
                <a:gd name="T84" fmla="*/ 36 w 162"/>
                <a:gd name="T85" fmla="*/ 156 h 384"/>
                <a:gd name="T86" fmla="*/ 36 w 162"/>
                <a:gd name="T87" fmla="*/ 144 h 384"/>
                <a:gd name="T88" fmla="*/ 30 w 162"/>
                <a:gd name="T89" fmla="*/ 126 h 384"/>
                <a:gd name="T90" fmla="*/ 30 w 162"/>
                <a:gd name="T91" fmla="*/ 108 h 384"/>
                <a:gd name="T92" fmla="*/ 30 w 162"/>
                <a:gd name="T93" fmla="*/ 96 h 384"/>
                <a:gd name="T94" fmla="*/ 30 w 162"/>
                <a:gd name="T95" fmla="*/ 84 h 384"/>
                <a:gd name="T96" fmla="*/ 42 w 162"/>
                <a:gd name="T97" fmla="*/ 66 h 384"/>
                <a:gd name="T98" fmla="*/ 48 w 162"/>
                <a:gd name="T99" fmla="*/ 60 h 384"/>
                <a:gd name="T100" fmla="*/ 36 w 162"/>
                <a:gd name="T101" fmla="*/ 36 h 384"/>
                <a:gd name="T102" fmla="*/ 30 w 162"/>
                <a:gd name="T103" fmla="*/ 24 h 384"/>
                <a:gd name="T104" fmla="*/ 24 w 162"/>
                <a:gd name="T105" fmla="*/ 18 h 384"/>
                <a:gd name="T106" fmla="*/ 12 w 162"/>
                <a:gd name="T107" fmla="*/ 6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2"/>
                <a:gd name="T163" fmla="*/ 0 h 384"/>
                <a:gd name="T164" fmla="*/ 162 w 162"/>
                <a:gd name="T165" fmla="*/ 384 h 3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1" name="Group 55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294" y="2406"/>
              <a:ext cx="469" cy="454"/>
              <a:chOff x="3294" y="2406"/>
              <a:chExt cx="469" cy="454"/>
            </a:xfrm>
            <a:grpFill/>
          </p:grpSpPr>
          <p:sp>
            <p:nvSpPr>
              <p:cNvPr id="164" name="Freeform 56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294" y="2406"/>
                <a:ext cx="469" cy="454"/>
              </a:xfrm>
              <a:custGeom>
                <a:avLst/>
                <a:gdLst>
                  <a:gd name="T0" fmla="*/ 30 w 552"/>
                  <a:gd name="T1" fmla="*/ 168 h 534"/>
                  <a:gd name="T2" fmla="*/ 48 w 552"/>
                  <a:gd name="T3" fmla="*/ 150 h 534"/>
                  <a:gd name="T4" fmla="*/ 66 w 552"/>
                  <a:gd name="T5" fmla="*/ 120 h 534"/>
                  <a:gd name="T6" fmla="*/ 78 w 552"/>
                  <a:gd name="T7" fmla="*/ 108 h 534"/>
                  <a:gd name="T8" fmla="*/ 60 w 552"/>
                  <a:gd name="T9" fmla="*/ 90 h 534"/>
                  <a:gd name="T10" fmla="*/ 60 w 552"/>
                  <a:gd name="T11" fmla="*/ 72 h 534"/>
                  <a:gd name="T12" fmla="*/ 78 w 552"/>
                  <a:gd name="T13" fmla="*/ 60 h 534"/>
                  <a:gd name="T14" fmla="*/ 78 w 552"/>
                  <a:gd name="T15" fmla="*/ 36 h 534"/>
                  <a:gd name="T16" fmla="*/ 60 w 552"/>
                  <a:gd name="T17" fmla="*/ 12 h 534"/>
                  <a:gd name="T18" fmla="*/ 90 w 552"/>
                  <a:gd name="T19" fmla="*/ 0 h 534"/>
                  <a:gd name="T20" fmla="*/ 288 w 552"/>
                  <a:gd name="T21" fmla="*/ 30 h 534"/>
                  <a:gd name="T22" fmla="*/ 414 w 552"/>
                  <a:gd name="T23" fmla="*/ 96 h 534"/>
                  <a:gd name="T24" fmla="*/ 426 w 552"/>
                  <a:gd name="T25" fmla="*/ 132 h 534"/>
                  <a:gd name="T26" fmla="*/ 492 w 552"/>
                  <a:gd name="T27" fmla="*/ 192 h 534"/>
                  <a:gd name="T28" fmla="*/ 486 w 552"/>
                  <a:gd name="T29" fmla="*/ 198 h 534"/>
                  <a:gd name="T30" fmla="*/ 486 w 552"/>
                  <a:gd name="T31" fmla="*/ 210 h 534"/>
                  <a:gd name="T32" fmla="*/ 480 w 552"/>
                  <a:gd name="T33" fmla="*/ 228 h 534"/>
                  <a:gd name="T34" fmla="*/ 474 w 552"/>
                  <a:gd name="T35" fmla="*/ 264 h 534"/>
                  <a:gd name="T36" fmla="*/ 480 w 552"/>
                  <a:gd name="T37" fmla="*/ 270 h 534"/>
                  <a:gd name="T38" fmla="*/ 492 w 552"/>
                  <a:gd name="T39" fmla="*/ 282 h 534"/>
                  <a:gd name="T40" fmla="*/ 510 w 552"/>
                  <a:gd name="T41" fmla="*/ 300 h 534"/>
                  <a:gd name="T42" fmla="*/ 498 w 552"/>
                  <a:gd name="T43" fmla="*/ 312 h 534"/>
                  <a:gd name="T44" fmla="*/ 498 w 552"/>
                  <a:gd name="T45" fmla="*/ 336 h 534"/>
                  <a:gd name="T46" fmla="*/ 498 w 552"/>
                  <a:gd name="T47" fmla="*/ 354 h 534"/>
                  <a:gd name="T48" fmla="*/ 498 w 552"/>
                  <a:gd name="T49" fmla="*/ 384 h 534"/>
                  <a:gd name="T50" fmla="*/ 504 w 552"/>
                  <a:gd name="T51" fmla="*/ 390 h 534"/>
                  <a:gd name="T52" fmla="*/ 510 w 552"/>
                  <a:gd name="T53" fmla="*/ 402 h 534"/>
                  <a:gd name="T54" fmla="*/ 510 w 552"/>
                  <a:gd name="T55" fmla="*/ 402 h 534"/>
                  <a:gd name="T56" fmla="*/ 516 w 552"/>
                  <a:gd name="T57" fmla="*/ 426 h 534"/>
                  <a:gd name="T58" fmla="*/ 516 w 552"/>
                  <a:gd name="T59" fmla="*/ 444 h 534"/>
                  <a:gd name="T60" fmla="*/ 534 w 552"/>
                  <a:gd name="T61" fmla="*/ 456 h 534"/>
                  <a:gd name="T62" fmla="*/ 540 w 552"/>
                  <a:gd name="T63" fmla="*/ 462 h 534"/>
                  <a:gd name="T64" fmla="*/ 552 w 552"/>
                  <a:gd name="T65" fmla="*/ 462 h 534"/>
                  <a:gd name="T66" fmla="*/ 528 w 552"/>
                  <a:gd name="T67" fmla="*/ 486 h 534"/>
                  <a:gd name="T68" fmla="*/ 498 w 552"/>
                  <a:gd name="T69" fmla="*/ 504 h 534"/>
                  <a:gd name="T70" fmla="*/ 468 w 552"/>
                  <a:gd name="T71" fmla="*/ 510 h 534"/>
                  <a:gd name="T72" fmla="*/ 444 w 552"/>
                  <a:gd name="T73" fmla="*/ 510 h 534"/>
                  <a:gd name="T74" fmla="*/ 420 w 552"/>
                  <a:gd name="T75" fmla="*/ 522 h 534"/>
                  <a:gd name="T76" fmla="*/ 402 w 552"/>
                  <a:gd name="T77" fmla="*/ 528 h 534"/>
                  <a:gd name="T78" fmla="*/ 372 w 552"/>
                  <a:gd name="T79" fmla="*/ 522 h 534"/>
                  <a:gd name="T80" fmla="*/ 354 w 552"/>
                  <a:gd name="T81" fmla="*/ 528 h 534"/>
                  <a:gd name="T82" fmla="*/ 342 w 552"/>
                  <a:gd name="T83" fmla="*/ 522 h 534"/>
                  <a:gd name="T84" fmla="*/ 318 w 552"/>
                  <a:gd name="T85" fmla="*/ 522 h 534"/>
                  <a:gd name="T86" fmla="*/ 312 w 552"/>
                  <a:gd name="T87" fmla="*/ 522 h 534"/>
                  <a:gd name="T88" fmla="*/ 300 w 552"/>
                  <a:gd name="T89" fmla="*/ 522 h 534"/>
                  <a:gd name="T90" fmla="*/ 270 w 552"/>
                  <a:gd name="T91" fmla="*/ 504 h 534"/>
                  <a:gd name="T92" fmla="*/ 264 w 552"/>
                  <a:gd name="T93" fmla="*/ 474 h 534"/>
                  <a:gd name="T94" fmla="*/ 258 w 552"/>
                  <a:gd name="T95" fmla="*/ 444 h 534"/>
                  <a:gd name="T96" fmla="*/ 240 w 552"/>
                  <a:gd name="T97" fmla="*/ 420 h 534"/>
                  <a:gd name="T98" fmla="*/ 222 w 552"/>
                  <a:gd name="T99" fmla="*/ 426 h 534"/>
                  <a:gd name="T100" fmla="*/ 192 w 552"/>
                  <a:gd name="T101" fmla="*/ 420 h 534"/>
                  <a:gd name="T102" fmla="*/ 168 w 552"/>
                  <a:gd name="T103" fmla="*/ 408 h 534"/>
                  <a:gd name="T104" fmla="*/ 138 w 552"/>
                  <a:gd name="T105" fmla="*/ 402 h 534"/>
                  <a:gd name="T106" fmla="*/ 114 w 552"/>
                  <a:gd name="T107" fmla="*/ 390 h 534"/>
                  <a:gd name="T108" fmla="*/ 90 w 552"/>
                  <a:gd name="T109" fmla="*/ 378 h 534"/>
                  <a:gd name="T110" fmla="*/ 72 w 552"/>
                  <a:gd name="T111" fmla="*/ 348 h 534"/>
                  <a:gd name="T112" fmla="*/ 48 w 552"/>
                  <a:gd name="T113" fmla="*/ 300 h 534"/>
                  <a:gd name="T114" fmla="*/ 18 w 552"/>
                  <a:gd name="T115" fmla="*/ 264 h 534"/>
                  <a:gd name="T116" fmla="*/ 18 w 552"/>
                  <a:gd name="T117" fmla="*/ 228 h 534"/>
                  <a:gd name="T118" fmla="*/ 0 w 552"/>
                  <a:gd name="T119" fmla="*/ 192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52"/>
                  <a:gd name="T181" fmla="*/ 0 h 534"/>
                  <a:gd name="T182" fmla="*/ 552 w 552"/>
                  <a:gd name="T183" fmla="*/ 534 h 53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" name="Freeform 57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728" y="2687"/>
                <a:ext cx="15" cy="15"/>
              </a:xfrm>
              <a:custGeom>
                <a:avLst/>
                <a:gdLst>
                  <a:gd name="T0" fmla="*/ 12 w 18"/>
                  <a:gd name="T1" fmla="*/ 6 h 18"/>
                  <a:gd name="T2" fmla="*/ 18 w 18"/>
                  <a:gd name="T3" fmla="*/ 6 h 18"/>
                  <a:gd name="T4" fmla="*/ 12 w 18"/>
                  <a:gd name="T5" fmla="*/ 6 h 18"/>
                  <a:gd name="T6" fmla="*/ 18 w 18"/>
                  <a:gd name="T7" fmla="*/ 0 h 18"/>
                  <a:gd name="T8" fmla="*/ 18 w 18"/>
                  <a:gd name="T9" fmla="*/ 6 h 18"/>
                  <a:gd name="T10" fmla="*/ 12 w 18"/>
                  <a:gd name="T11" fmla="*/ 12 h 18"/>
                  <a:gd name="T12" fmla="*/ 18 w 18"/>
                  <a:gd name="T13" fmla="*/ 12 h 18"/>
                  <a:gd name="T14" fmla="*/ 12 w 18"/>
                  <a:gd name="T15" fmla="*/ 12 h 18"/>
                  <a:gd name="T16" fmla="*/ 6 w 18"/>
                  <a:gd name="T17" fmla="*/ 12 h 18"/>
                  <a:gd name="T18" fmla="*/ 12 w 18"/>
                  <a:gd name="T19" fmla="*/ 18 h 18"/>
                  <a:gd name="T20" fmla="*/ 6 w 18"/>
                  <a:gd name="T21" fmla="*/ 18 h 18"/>
                  <a:gd name="T22" fmla="*/ 0 w 18"/>
                  <a:gd name="T23" fmla="*/ 12 h 18"/>
                  <a:gd name="T24" fmla="*/ 6 w 18"/>
                  <a:gd name="T25" fmla="*/ 12 h 18"/>
                  <a:gd name="T26" fmla="*/ 6 w 18"/>
                  <a:gd name="T27" fmla="*/ 6 h 18"/>
                  <a:gd name="T28" fmla="*/ 6 w 18"/>
                  <a:gd name="T29" fmla="*/ 12 h 18"/>
                  <a:gd name="T30" fmla="*/ 6 w 18"/>
                  <a:gd name="T31" fmla="*/ 6 h 18"/>
                  <a:gd name="T32" fmla="*/ 12 w 18"/>
                  <a:gd name="T33" fmla="*/ 6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18"/>
                  <a:gd name="T53" fmla="*/ 18 w 18"/>
                  <a:gd name="T54" fmla="*/ 18 h 1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6" name="Freeform 58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733" y="2570"/>
                <a:ext cx="10" cy="25"/>
              </a:xfrm>
              <a:custGeom>
                <a:avLst/>
                <a:gdLst>
                  <a:gd name="T0" fmla="*/ 12 w 12"/>
                  <a:gd name="T1" fmla="*/ 6 h 30"/>
                  <a:gd name="T2" fmla="*/ 6 w 12"/>
                  <a:gd name="T3" fmla="*/ 6 h 30"/>
                  <a:gd name="T4" fmla="*/ 6 w 12"/>
                  <a:gd name="T5" fmla="*/ 12 h 30"/>
                  <a:gd name="T6" fmla="*/ 12 w 12"/>
                  <a:gd name="T7" fmla="*/ 12 h 30"/>
                  <a:gd name="T8" fmla="*/ 12 w 12"/>
                  <a:gd name="T9" fmla="*/ 18 h 30"/>
                  <a:gd name="T10" fmla="*/ 6 w 12"/>
                  <a:gd name="T11" fmla="*/ 18 h 30"/>
                  <a:gd name="T12" fmla="*/ 6 w 12"/>
                  <a:gd name="T13" fmla="*/ 24 h 30"/>
                  <a:gd name="T14" fmla="*/ 6 w 12"/>
                  <a:gd name="T15" fmla="*/ 30 h 30"/>
                  <a:gd name="T16" fmla="*/ 6 w 12"/>
                  <a:gd name="T17" fmla="*/ 24 h 30"/>
                  <a:gd name="T18" fmla="*/ 0 w 12"/>
                  <a:gd name="T19" fmla="*/ 24 h 30"/>
                  <a:gd name="T20" fmla="*/ 0 w 12"/>
                  <a:gd name="T21" fmla="*/ 30 h 30"/>
                  <a:gd name="T22" fmla="*/ 0 w 12"/>
                  <a:gd name="T23" fmla="*/ 24 h 30"/>
                  <a:gd name="T24" fmla="*/ 0 w 12"/>
                  <a:gd name="T25" fmla="*/ 30 h 30"/>
                  <a:gd name="T26" fmla="*/ 0 w 12"/>
                  <a:gd name="T27" fmla="*/ 24 h 30"/>
                  <a:gd name="T28" fmla="*/ 0 w 12"/>
                  <a:gd name="T29" fmla="*/ 18 h 30"/>
                  <a:gd name="T30" fmla="*/ 0 w 12"/>
                  <a:gd name="T31" fmla="*/ 24 h 30"/>
                  <a:gd name="T32" fmla="*/ 0 w 12"/>
                  <a:gd name="T33" fmla="*/ 18 h 30"/>
                  <a:gd name="T34" fmla="*/ 6 w 12"/>
                  <a:gd name="T35" fmla="*/ 18 h 30"/>
                  <a:gd name="T36" fmla="*/ 0 w 12"/>
                  <a:gd name="T37" fmla="*/ 18 h 30"/>
                  <a:gd name="T38" fmla="*/ 6 w 12"/>
                  <a:gd name="T39" fmla="*/ 18 h 30"/>
                  <a:gd name="T40" fmla="*/ 6 w 12"/>
                  <a:gd name="T41" fmla="*/ 12 h 30"/>
                  <a:gd name="T42" fmla="*/ 0 w 12"/>
                  <a:gd name="T43" fmla="*/ 12 h 30"/>
                  <a:gd name="T44" fmla="*/ 6 w 12"/>
                  <a:gd name="T45" fmla="*/ 12 h 30"/>
                  <a:gd name="T46" fmla="*/ 0 w 12"/>
                  <a:gd name="T47" fmla="*/ 12 h 30"/>
                  <a:gd name="T48" fmla="*/ 0 w 12"/>
                  <a:gd name="T49" fmla="*/ 6 h 30"/>
                  <a:gd name="T50" fmla="*/ 0 w 12"/>
                  <a:gd name="T51" fmla="*/ 0 h 30"/>
                  <a:gd name="T52" fmla="*/ 6 w 12"/>
                  <a:gd name="T53" fmla="*/ 0 h 30"/>
                  <a:gd name="T54" fmla="*/ 6 w 12"/>
                  <a:gd name="T55" fmla="*/ 6 h 30"/>
                  <a:gd name="T56" fmla="*/ 6 w 12"/>
                  <a:gd name="T57" fmla="*/ 0 h 30"/>
                  <a:gd name="T58" fmla="*/ 6 w 12"/>
                  <a:gd name="T59" fmla="*/ 6 h 30"/>
                  <a:gd name="T60" fmla="*/ 12 w 12"/>
                  <a:gd name="T61" fmla="*/ 6 h 30"/>
                  <a:gd name="T62" fmla="*/ 12 w 12"/>
                  <a:gd name="T63" fmla="*/ 0 h 30"/>
                  <a:gd name="T64" fmla="*/ 12 w 12"/>
                  <a:gd name="T65" fmla="*/ 6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"/>
                  <a:gd name="T100" fmla="*/ 0 h 30"/>
                  <a:gd name="T101" fmla="*/ 12 w 1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7" name="Freeform 59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712" y="2606"/>
                <a:ext cx="16" cy="30"/>
              </a:xfrm>
              <a:custGeom>
                <a:avLst/>
                <a:gdLst>
                  <a:gd name="T0" fmla="*/ 0 w 18"/>
                  <a:gd name="T1" fmla="*/ 12 h 36"/>
                  <a:gd name="T2" fmla="*/ 0 w 18"/>
                  <a:gd name="T3" fmla="*/ 6 h 36"/>
                  <a:gd name="T4" fmla="*/ 6 w 18"/>
                  <a:gd name="T5" fmla="*/ 6 h 36"/>
                  <a:gd name="T6" fmla="*/ 6 w 18"/>
                  <a:gd name="T7" fmla="*/ 0 h 36"/>
                  <a:gd name="T8" fmla="*/ 6 w 18"/>
                  <a:gd name="T9" fmla="*/ 6 h 36"/>
                  <a:gd name="T10" fmla="*/ 12 w 18"/>
                  <a:gd name="T11" fmla="*/ 12 h 36"/>
                  <a:gd name="T12" fmla="*/ 12 w 18"/>
                  <a:gd name="T13" fmla="*/ 18 h 36"/>
                  <a:gd name="T14" fmla="*/ 12 w 18"/>
                  <a:gd name="T15" fmla="*/ 24 h 36"/>
                  <a:gd name="T16" fmla="*/ 18 w 18"/>
                  <a:gd name="T17" fmla="*/ 24 h 36"/>
                  <a:gd name="T18" fmla="*/ 18 w 18"/>
                  <a:gd name="T19" fmla="*/ 18 h 36"/>
                  <a:gd name="T20" fmla="*/ 18 w 18"/>
                  <a:gd name="T21" fmla="*/ 24 h 36"/>
                  <a:gd name="T22" fmla="*/ 18 w 18"/>
                  <a:gd name="T23" fmla="*/ 30 h 36"/>
                  <a:gd name="T24" fmla="*/ 18 w 18"/>
                  <a:gd name="T25" fmla="*/ 36 h 36"/>
                  <a:gd name="T26" fmla="*/ 12 w 18"/>
                  <a:gd name="T27" fmla="*/ 36 h 36"/>
                  <a:gd name="T28" fmla="*/ 12 w 18"/>
                  <a:gd name="T29" fmla="*/ 30 h 36"/>
                  <a:gd name="T30" fmla="*/ 6 w 18"/>
                  <a:gd name="T31" fmla="*/ 30 h 36"/>
                  <a:gd name="T32" fmla="*/ 6 w 18"/>
                  <a:gd name="T33" fmla="*/ 24 h 36"/>
                  <a:gd name="T34" fmla="*/ 6 w 18"/>
                  <a:gd name="T35" fmla="*/ 30 h 36"/>
                  <a:gd name="T36" fmla="*/ 0 w 18"/>
                  <a:gd name="T37" fmla="*/ 24 h 36"/>
                  <a:gd name="T38" fmla="*/ 0 w 18"/>
                  <a:gd name="T39" fmla="*/ 18 h 36"/>
                  <a:gd name="T40" fmla="*/ 0 w 18"/>
                  <a:gd name="T41" fmla="*/ 12 h 36"/>
                  <a:gd name="T42" fmla="*/ 0 w 18"/>
                  <a:gd name="T43" fmla="*/ 6 h 36"/>
                  <a:gd name="T44" fmla="*/ 0 w 18"/>
                  <a:gd name="T45" fmla="*/ 12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8"/>
                  <a:gd name="T70" fmla="*/ 0 h 36"/>
                  <a:gd name="T71" fmla="*/ 18 w 18"/>
                  <a:gd name="T72" fmla="*/ 36 h 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2" name="Freeform 60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auto">
            <a:xfrm>
              <a:off x="3279" y="2407"/>
              <a:ext cx="81" cy="76"/>
            </a:xfrm>
            <a:custGeom>
              <a:avLst/>
              <a:gdLst>
                <a:gd name="T0" fmla="*/ 42 w 96"/>
                <a:gd name="T1" fmla="*/ 18 h 90"/>
                <a:gd name="T2" fmla="*/ 48 w 96"/>
                <a:gd name="T3" fmla="*/ 12 h 90"/>
                <a:gd name="T4" fmla="*/ 48 w 96"/>
                <a:gd name="T5" fmla="*/ 24 h 90"/>
                <a:gd name="T6" fmla="*/ 54 w 96"/>
                <a:gd name="T7" fmla="*/ 18 h 90"/>
                <a:gd name="T8" fmla="*/ 60 w 96"/>
                <a:gd name="T9" fmla="*/ 12 h 90"/>
                <a:gd name="T10" fmla="*/ 66 w 96"/>
                <a:gd name="T11" fmla="*/ 6 h 90"/>
                <a:gd name="T12" fmla="*/ 72 w 96"/>
                <a:gd name="T13" fmla="*/ 0 h 90"/>
                <a:gd name="T14" fmla="*/ 78 w 96"/>
                <a:gd name="T15" fmla="*/ 6 h 90"/>
                <a:gd name="T16" fmla="*/ 84 w 96"/>
                <a:gd name="T17" fmla="*/ 12 h 90"/>
                <a:gd name="T18" fmla="*/ 90 w 96"/>
                <a:gd name="T19" fmla="*/ 18 h 90"/>
                <a:gd name="T20" fmla="*/ 96 w 96"/>
                <a:gd name="T21" fmla="*/ 30 h 90"/>
                <a:gd name="T22" fmla="*/ 96 w 96"/>
                <a:gd name="T23" fmla="*/ 42 h 90"/>
                <a:gd name="T24" fmla="*/ 90 w 96"/>
                <a:gd name="T25" fmla="*/ 48 h 90"/>
                <a:gd name="T26" fmla="*/ 96 w 96"/>
                <a:gd name="T27" fmla="*/ 54 h 90"/>
                <a:gd name="T28" fmla="*/ 96 w 96"/>
                <a:gd name="T29" fmla="*/ 66 h 90"/>
                <a:gd name="T30" fmla="*/ 84 w 96"/>
                <a:gd name="T31" fmla="*/ 72 h 90"/>
                <a:gd name="T32" fmla="*/ 84 w 96"/>
                <a:gd name="T33" fmla="*/ 72 h 90"/>
                <a:gd name="T34" fmla="*/ 78 w 96"/>
                <a:gd name="T35" fmla="*/ 66 h 90"/>
                <a:gd name="T36" fmla="*/ 66 w 96"/>
                <a:gd name="T37" fmla="*/ 66 h 90"/>
                <a:gd name="T38" fmla="*/ 54 w 96"/>
                <a:gd name="T39" fmla="*/ 66 h 90"/>
                <a:gd name="T40" fmla="*/ 48 w 96"/>
                <a:gd name="T41" fmla="*/ 72 h 90"/>
                <a:gd name="T42" fmla="*/ 48 w 96"/>
                <a:gd name="T43" fmla="*/ 84 h 90"/>
                <a:gd name="T44" fmla="*/ 42 w 96"/>
                <a:gd name="T45" fmla="*/ 90 h 90"/>
                <a:gd name="T46" fmla="*/ 42 w 96"/>
                <a:gd name="T47" fmla="*/ 90 h 90"/>
                <a:gd name="T48" fmla="*/ 30 w 96"/>
                <a:gd name="T49" fmla="*/ 90 h 90"/>
                <a:gd name="T50" fmla="*/ 18 w 96"/>
                <a:gd name="T51" fmla="*/ 84 h 90"/>
                <a:gd name="T52" fmla="*/ 18 w 96"/>
                <a:gd name="T53" fmla="*/ 84 h 90"/>
                <a:gd name="T54" fmla="*/ 12 w 96"/>
                <a:gd name="T55" fmla="*/ 78 h 90"/>
                <a:gd name="T56" fmla="*/ 6 w 96"/>
                <a:gd name="T57" fmla="*/ 84 h 90"/>
                <a:gd name="T58" fmla="*/ 0 w 96"/>
                <a:gd name="T59" fmla="*/ 78 h 90"/>
                <a:gd name="T60" fmla="*/ 0 w 96"/>
                <a:gd name="T61" fmla="*/ 66 h 90"/>
                <a:gd name="T62" fmla="*/ 6 w 96"/>
                <a:gd name="T63" fmla="*/ 60 h 90"/>
                <a:gd name="T64" fmla="*/ 12 w 96"/>
                <a:gd name="T65" fmla="*/ 54 h 90"/>
                <a:gd name="T66" fmla="*/ 12 w 96"/>
                <a:gd name="T67" fmla="*/ 42 h 90"/>
                <a:gd name="T68" fmla="*/ 18 w 96"/>
                <a:gd name="T69" fmla="*/ 36 h 90"/>
                <a:gd name="T70" fmla="*/ 18 w 96"/>
                <a:gd name="T71" fmla="*/ 24 h 90"/>
                <a:gd name="T72" fmla="*/ 30 w 96"/>
                <a:gd name="T73" fmla="*/ 24 h 90"/>
                <a:gd name="T74" fmla="*/ 36 w 96"/>
                <a:gd name="T75" fmla="*/ 18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6"/>
                <a:gd name="T115" fmla="*/ 0 h 90"/>
                <a:gd name="T116" fmla="*/ 96 w 96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61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4477" y="3207"/>
              <a:ext cx="21" cy="26"/>
            </a:xfrm>
            <a:custGeom>
              <a:avLst/>
              <a:gdLst>
                <a:gd name="T0" fmla="*/ 12 w 24"/>
                <a:gd name="T1" fmla="*/ 0 h 30"/>
                <a:gd name="T2" fmla="*/ 18 w 24"/>
                <a:gd name="T3" fmla="*/ 0 h 30"/>
                <a:gd name="T4" fmla="*/ 18 w 24"/>
                <a:gd name="T5" fmla="*/ 6 h 30"/>
                <a:gd name="T6" fmla="*/ 24 w 24"/>
                <a:gd name="T7" fmla="*/ 6 h 30"/>
                <a:gd name="T8" fmla="*/ 24 w 24"/>
                <a:gd name="T9" fmla="*/ 12 h 30"/>
                <a:gd name="T10" fmla="*/ 24 w 24"/>
                <a:gd name="T11" fmla="*/ 6 h 30"/>
                <a:gd name="T12" fmla="*/ 24 w 24"/>
                <a:gd name="T13" fmla="*/ 12 h 30"/>
                <a:gd name="T14" fmla="*/ 24 w 24"/>
                <a:gd name="T15" fmla="*/ 18 h 30"/>
                <a:gd name="T16" fmla="*/ 18 w 24"/>
                <a:gd name="T17" fmla="*/ 18 h 30"/>
                <a:gd name="T18" fmla="*/ 18 w 24"/>
                <a:gd name="T19" fmla="*/ 24 h 30"/>
                <a:gd name="T20" fmla="*/ 12 w 24"/>
                <a:gd name="T21" fmla="*/ 24 h 30"/>
                <a:gd name="T22" fmla="*/ 12 w 24"/>
                <a:gd name="T23" fmla="*/ 30 h 30"/>
                <a:gd name="T24" fmla="*/ 6 w 24"/>
                <a:gd name="T25" fmla="*/ 24 h 30"/>
                <a:gd name="T26" fmla="*/ 0 w 24"/>
                <a:gd name="T27" fmla="*/ 24 h 30"/>
                <a:gd name="T28" fmla="*/ 6 w 24"/>
                <a:gd name="T29" fmla="*/ 24 h 30"/>
                <a:gd name="T30" fmla="*/ 0 w 24"/>
                <a:gd name="T31" fmla="*/ 18 h 30"/>
                <a:gd name="T32" fmla="*/ 6 w 24"/>
                <a:gd name="T33" fmla="*/ 18 h 30"/>
                <a:gd name="T34" fmla="*/ 0 w 24"/>
                <a:gd name="T35" fmla="*/ 18 h 30"/>
                <a:gd name="T36" fmla="*/ 6 w 24"/>
                <a:gd name="T37" fmla="*/ 18 h 30"/>
                <a:gd name="T38" fmla="*/ 0 w 24"/>
                <a:gd name="T39" fmla="*/ 18 h 30"/>
                <a:gd name="T40" fmla="*/ 6 w 24"/>
                <a:gd name="T41" fmla="*/ 18 h 30"/>
                <a:gd name="T42" fmla="*/ 0 w 24"/>
                <a:gd name="T43" fmla="*/ 18 h 30"/>
                <a:gd name="T44" fmla="*/ 6 w 24"/>
                <a:gd name="T45" fmla="*/ 12 h 30"/>
                <a:gd name="T46" fmla="*/ 12 w 24"/>
                <a:gd name="T47" fmla="*/ 6 h 30"/>
                <a:gd name="T48" fmla="*/ 12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0"/>
                <a:gd name="T77" fmla="*/ 24 w 24"/>
                <a:gd name="T78" fmla="*/ 30 h 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62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4391" y="3243"/>
              <a:ext cx="25" cy="25"/>
            </a:xfrm>
            <a:custGeom>
              <a:avLst/>
              <a:gdLst>
                <a:gd name="T0" fmla="*/ 0 w 30"/>
                <a:gd name="T1" fmla="*/ 6 h 30"/>
                <a:gd name="T2" fmla="*/ 6 w 30"/>
                <a:gd name="T3" fmla="*/ 6 h 30"/>
                <a:gd name="T4" fmla="*/ 6 w 30"/>
                <a:gd name="T5" fmla="*/ 0 h 30"/>
                <a:gd name="T6" fmla="*/ 12 w 30"/>
                <a:gd name="T7" fmla="*/ 0 h 30"/>
                <a:gd name="T8" fmla="*/ 18 w 30"/>
                <a:gd name="T9" fmla="*/ 0 h 30"/>
                <a:gd name="T10" fmla="*/ 18 w 30"/>
                <a:gd name="T11" fmla="*/ 6 h 30"/>
                <a:gd name="T12" fmla="*/ 24 w 30"/>
                <a:gd name="T13" fmla="*/ 6 h 30"/>
                <a:gd name="T14" fmla="*/ 24 w 30"/>
                <a:gd name="T15" fmla="*/ 12 h 30"/>
                <a:gd name="T16" fmla="*/ 30 w 30"/>
                <a:gd name="T17" fmla="*/ 18 h 30"/>
                <a:gd name="T18" fmla="*/ 30 w 30"/>
                <a:gd name="T19" fmla="*/ 24 h 30"/>
                <a:gd name="T20" fmla="*/ 24 w 30"/>
                <a:gd name="T21" fmla="*/ 24 h 30"/>
                <a:gd name="T22" fmla="*/ 18 w 30"/>
                <a:gd name="T23" fmla="*/ 30 h 30"/>
                <a:gd name="T24" fmla="*/ 18 w 30"/>
                <a:gd name="T25" fmla="*/ 24 h 30"/>
                <a:gd name="T26" fmla="*/ 18 w 30"/>
                <a:gd name="T27" fmla="*/ 30 h 30"/>
                <a:gd name="T28" fmla="*/ 18 w 30"/>
                <a:gd name="T29" fmla="*/ 24 h 30"/>
                <a:gd name="T30" fmla="*/ 12 w 30"/>
                <a:gd name="T31" fmla="*/ 24 h 30"/>
                <a:gd name="T32" fmla="*/ 6 w 30"/>
                <a:gd name="T33" fmla="*/ 24 h 30"/>
                <a:gd name="T34" fmla="*/ 6 w 30"/>
                <a:gd name="T35" fmla="*/ 18 h 30"/>
                <a:gd name="T36" fmla="*/ 0 w 30"/>
                <a:gd name="T37" fmla="*/ 18 h 30"/>
                <a:gd name="T38" fmla="*/ 0 w 30"/>
                <a:gd name="T39" fmla="*/ 12 h 30"/>
                <a:gd name="T40" fmla="*/ 0 w 30"/>
                <a:gd name="T41" fmla="*/ 6 h 30"/>
                <a:gd name="T42" fmla="*/ 6 w 30"/>
                <a:gd name="T43" fmla="*/ 6 h 30"/>
                <a:gd name="T44" fmla="*/ 0 w 30"/>
                <a:gd name="T45" fmla="*/ 6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30"/>
                <a:gd name="T71" fmla="*/ 30 w 30"/>
                <a:gd name="T72" fmla="*/ 30 h 3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5" name="Group 63"/>
            <p:cNvGrpSpPr>
              <a:grpSpLocks/>
            </p:cNvGrpSpPr>
            <p:nvPr/>
          </p:nvGrpSpPr>
          <p:grpSpPr bwMode="auto">
            <a:xfrm>
              <a:off x="4396" y="2524"/>
              <a:ext cx="40" cy="143"/>
              <a:chOff x="4396" y="2524"/>
              <a:chExt cx="40" cy="143"/>
            </a:xfrm>
            <a:grpFill/>
          </p:grpSpPr>
          <p:sp>
            <p:nvSpPr>
              <p:cNvPr id="157" name="Freeform 64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0 w 6"/>
                  <a:gd name="T5" fmla="*/ 6 h 12"/>
                  <a:gd name="T6" fmla="*/ 6 w 6"/>
                  <a:gd name="T7" fmla="*/ 0 h 12"/>
                  <a:gd name="T8" fmla="*/ 6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8" name="Freeform 65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6 w 6"/>
                  <a:gd name="T2" fmla="*/ 0 w 6"/>
                  <a:gd name="T3" fmla="*/ 0 60000 65536"/>
                  <a:gd name="T4" fmla="*/ 0 60000 65536"/>
                  <a:gd name="T5" fmla="*/ 0 60000 65536"/>
                  <a:gd name="T6" fmla="*/ 0 w 6"/>
                  <a:gd name="T7" fmla="*/ 6 w 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9" name="Freeform 66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0" name="Freeform 67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1" name="Freeform 68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2" name="Freeform 69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3" name="Freeform 70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46" name="Group 71"/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989" y="1637"/>
              <a:ext cx="113" cy="102"/>
              <a:chOff x="989" y="1637"/>
              <a:chExt cx="113" cy="102"/>
            </a:xfrm>
            <a:grpFill/>
          </p:grpSpPr>
          <p:sp>
            <p:nvSpPr>
              <p:cNvPr id="147" name="Freeform 72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56" y="1718"/>
                <a:ext cx="15" cy="16"/>
              </a:xfrm>
              <a:custGeom>
                <a:avLst/>
                <a:gdLst>
                  <a:gd name="T0" fmla="*/ 0 w 18"/>
                  <a:gd name="T1" fmla="*/ 12 h 18"/>
                  <a:gd name="T2" fmla="*/ 0 w 18"/>
                  <a:gd name="T3" fmla="*/ 6 h 18"/>
                  <a:gd name="T4" fmla="*/ 0 w 18"/>
                  <a:gd name="T5" fmla="*/ 0 h 18"/>
                  <a:gd name="T6" fmla="*/ 6 w 18"/>
                  <a:gd name="T7" fmla="*/ 0 h 18"/>
                  <a:gd name="T8" fmla="*/ 0 w 18"/>
                  <a:gd name="T9" fmla="*/ 0 h 18"/>
                  <a:gd name="T10" fmla="*/ 6 w 18"/>
                  <a:gd name="T11" fmla="*/ 0 h 18"/>
                  <a:gd name="T12" fmla="*/ 6 w 18"/>
                  <a:gd name="T13" fmla="*/ 6 h 18"/>
                  <a:gd name="T14" fmla="*/ 6 w 18"/>
                  <a:gd name="T15" fmla="*/ 0 h 18"/>
                  <a:gd name="T16" fmla="*/ 6 w 18"/>
                  <a:gd name="T17" fmla="*/ 6 h 18"/>
                  <a:gd name="T18" fmla="*/ 12 w 18"/>
                  <a:gd name="T19" fmla="*/ 6 h 18"/>
                  <a:gd name="T20" fmla="*/ 12 w 18"/>
                  <a:gd name="T21" fmla="*/ 12 h 18"/>
                  <a:gd name="T22" fmla="*/ 18 w 18"/>
                  <a:gd name="T23" fmla="*/ 12 h 18"/>
                  <a:gd name="T24" fmla="*/ 12 w 18"/>
                  <a:gd name="T25" fmla="*/ 12 h 18"/>
                  <a:gd name="T26" fmla="*/ 18 w 18"/>
                  <a:gd name="T27" fmla="*/ 12 h 18"/>
                  <a:gd name="T28" fmla="*/ 18 w 18"/>
                  <a:gd name="T29" fmla="*/ 18 h 18"/>
                  <a:gd name="T30" fmla="*/ 12 w 18"/>
                  <a:gd name="T31" fmla="*/ 12 h 18"/>
                  <a:gd name="T32" fmla="*/ 12 w 18"/>
                  <a:gd name="T33" fmla="*/ 18 h 18"/>
                  <a:gd name="T34" fmla="*/ 6 w 18"/>
                  <a:gd name="T35" fmla="*/ 18 h 18"/>
                  <a:gd name="T36" fmla="*/ 0 w 18"/>
                  <a:gd name="T37" fmla="*/ 18 h 18"/>
                  <a:gd name="T38" fmla="*/ 0 w 18"/>
                  <a:gd name="T39" fmla="*/ 12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18"/>
                  <a:gd name="T62" fmla="*/ 18 w 18"/>
                  <a:gd name="T63" fmla="*/ 18 h 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18">
                    <a:moveTo>
                      <a:pt x="0" y="1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8" name="Freeform 73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00" y="1647"/>
                <a:ext cx="10" cy="10"/>
              </a:xfrm>
              <a:custGeom>
                <a:avLst/>
                <a:gdLst>
                  <a:gd name="T0" fmla="*/ 6 w 12"/>
                  <a:gd name="T1" fmla="*/ 6 h 12"/>
                  <a:gd name="T2" fmla="*/ 6 w 12"/>
                  <a:gd name="T3" fmla="*/ 0 h 12"/>
                  <a:gd name="T4" fmla="*/ 6 w 12"/>
                  <a:gd name="T5" fmla="*/ 6 h 12"/>
                  <a:gd name="T6" fmla="*/ 6 w 12"/>
                  <a:gd name="T7" fmla="*/ 0 h 12"/>
                  <a:gd name="T8" fmla="*/ 6 w 12"/>
                  <a:gd name="T9" fmla="*/ 6 h 12"/>
                  <a:gd name="T10" fmla="*/ 12 w 12"/>
                  <a:gd name="T11" fmla="*/ 6 h 12"/>
                  <a:gd name="T12" fmla="*/ 6 w 12"/>
                  <a:gd name="T13" fmla="*/ 6 h 12"/>
                  <a:gd name="T14" fmla="*/ 6 w 12"/>
                  <a:gd name="T15" fmla="*/ 12 h 12"/>
                  <a:gd name="T16" fmla="*/ 0 w 12"/>
                  <a:gd name="T17" fmla="*/ 12 h 12"/>
                  <a:gd name="T18" fmla="*/ 0 w 12"/>
                  <a:gd name="T19" fmla="*/ 6 h 12"/>
                  <a:gd name="T20" fmla="*/ 6 w 12"/>
                  <a:gd name="T21" fmla="*/ 6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12"/>
                  <a:gd name="T35" fmla="*/ 12 w 12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12">
                    <a:moveTo>
                      <a:pt x="6" y="6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9" name="Rectangle 74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76" y="1718"/>
                <a:ext cx="5" cy="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0" name="Freeform 75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10" y="1652"/>
                <a:ext cx="5" cy="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6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1" name="Freeform 76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989" y="1637"/>
                <a:ext cx="16" cy="15"/>
              </a:xfrm>
              <a:custGeom>
                <a:avLst/>
                <a:gdLst>
                  <a:gd name="T0" fmla="*/ 18 w 18"/>
                  <a:gd name="T1" fmla="*/ 6 h 18"/>
                  <a:gd name="T2" fmla="*/ 12 w 18"/>
                  <a:gd name="T3" fmla="*/ 12 h 18"/>
                  <a:gd name="T4" fmla="*/ 6 w 18"/>
                  <a:gd name="T5" fmla="*/ 12 h 18"/>
                  <a:gd name="T6" fmla="*/ 6 w 18"/>
                  <a:gd name="T7" fmla="*/ 18 h 18"/>
                  <a:gd name="T8" fmla="*/ 6 w 18"/>
                  <a:gd name="T9" fmla="*/ 12 h 18"/>
                  <a:gd name="T10" fmla="*/ 6 w 18"/>
                  <a:gd name="T11" fmla="*/ 18 h 18"/>
                  <a:gd name="T12" fmla="*/ 6 w 18"/>
                  <a:gd name="T13" fmla="*/ 12 h 18"/>
                  <a:gd name="T14" fmla="*/ 0 w 18"/>
                  <a:gd name="T15" fmla="*/ 18 h 18"/>
                  <a:gd name="T16" fmla="*/ 0 w 18"/>
                  <a:gd name="T17" fmla="*/ 12 h 18"/>
                  <a:gd name="T18" fmla="*/ 0 w 18"/>
                  <a:gd name="T19" fmla="*/ 6 h 18"/>
                  <a:gd name="T20" fmla="*/ 6 w 18"/>
                  <a:gd name="T21" fmla="*/ 6 h 18"/>
                  <a:gd name="T22" fmla="*/ 6 w 18"/>
                  <a:gd name="T23" fmla="*/ 0 h 18"/>
                  <a:gd name="T24" fmla="*/ 12 w 18"/>
                  <a:gd name="T25" fmla="*/ 0 h 18"/>
                  <a:gd name="T26" fmla="*/ 12 w 18"/>
                  <a:gd name="T27" fmla="*/ 6 h 18"/>
                  <a:gd name="T28" fmla="*/ 18 w 18"/>
                  <a:gd name="T29" fmla="*/ 6 h 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8"/>
                  <a:gd name="T46" fmla="*/ 0 h 18"/>
                  <a:gd name="T47" fmla="*/ 18 w 18"/>
                  <a:gd name="T48" fmla="*/ 18 h 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8" h="1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2" name="Freeform 77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5" y="1734"/>
                <a:ext cx="0" cy="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3" name="Freeform 78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5" y="1657"/>
                <a:ext cx="20" cy="10"/>
              </a:xfrm>
              <a:custGeom>
                <a:avLst/>
                <a:gdLst>
                  <a:gd name="T0" fmla="*/ 6 w 24"/>
                  <a:gd name="T1" fmla="*/ 6 h 12"/>
                  <a:gd name="T2" fmla="*/ 12 w 24"/>
                  <a:gd name="T3" fmla="*/ 6 h 12"/>
                  <a:gd name="T4" fmla="*/ 18 w 24"/>
                  <a:gd name="T5" fmla="*/ 6 h 12"/>
                  <a:gd name="T6" fmla="*/ 24 w 24"/>
                  <a:gd name="T7" fmla="*/ 6 h 12"/>
                  <a:gd name="T8" fmla="*/ 24 w 24"/>
                  <a:gd name="T9" fmla="*/ 12 h 12"/>
                  <a:gd name="T10" fmla="*/ 18 w 24"/>
                  <a:gd name="T11" fmla="*/ 6 h 12"/>
                  <a:gd name="T12" fmla="*/ 18 w 24"/>
                  <a:gd name="T13" fmla="*/ 12 h 12"/>
                  <a:gd name="T14" fmla="*/ 18 w 24"/>
                  <a:gd name="T15" fmla="*/ 6 h 12"/>
                  <a:gd name="T16" fmla="*/ 12 w 24"/>
                  <a:gd name="T17" fmla="*/ 6 h 12"/>
                  <a:gd name="T18" fmla="*/ 12 w 24"/>
                  <a:gd name="T19" fmla="*/ 12 h 12"/>
                  <a:gd name="T20" fmla="*/ 6 w 24"/>
                  <a:gd name="T21" fmla="*/ 12 h 12"/>
                  <a:gd name="T22" fmla="*/ 6 w 24"/>
                  <a:gd name="T23" fmla="*/ 6 h 12"/>
                  <a:gd name="T24" fmla="*/ 0 w 24"/>
                  <a:gd name="T25" fmla="*/ 6 h 12"/>
                  <a:gd name="T26" fmla="*/ 6 w 24"/>
                  <a:gd name="T27" fmla="*/ 6 h 12"/>
                  <a:gd name="T28" fmla="*/ 6 w 24"/>
                  <a:gd name="T29" fmla="*/ 0 h 12"/>
                  <a:gd name="T30" fmla="*/ 6 w 24"/>
                  <a:gd name="T31" fmla="*/ 6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12"/>
                  <a:gd name="T50" fmla="*/ 24 w 24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12">
                    <a:moveTo>
                      <a:pt x="6" y="6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4" name="Freeform 79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86" y="1652"/>
                <a:ext cx="5" cy="10"/>
              </a:xfrm>
              <a:custGeom>
                <a:avLst/>
                <a:gdLst>
                  <a:gd name="T0" fmla="*/ 6 w 6"/>
                  <a:gd name="T1" fmla="*/ 0 h 12"/>
                  <a:gd name="T2" fmla="*/ 6 w 6"/>
                  <a:gd name="T3" fmla="*/ 6 h 12"/>
                  <a:gd name="T4" fmla="*/ 6 w 6"/>
                  <a:gd name="T5" fmla="*/ 12 h 12"/>
                  <a:gd name="T6" fmla="*/ 6 w 6"/>
                  <a:gd name="T7" fmla="*/ 6 h 12"/>
                  <a:gd name="T8" fmla="*/ 0 w 6"/>
                  <a:gd name="T9" fmla="*/ 6 h 12"/>
                  <a:gd name="T10" fmla="*/ 0 w 6"/>
                  <a:gd name="T11" fmla="*/ 0 h 12"/>
                  <a:gd name="T12" fmla="*/ 6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2"/>
                  <a:gd name="T23" fmla="*/ 6 w 6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2">
                    <a:moveTo>
                      <a:pt x="6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" name="Freeform 80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25" y="1728"/>
                <a:ext cx="10" cy="11"/>
              </a:xfrm>
              <a:custGeom>
                <a:avLst/>
                <a:gdLst>
                  <a:gd name="T0" fmla="*/ 0 w 12"/>
                  <a:gd name="T1" fmla="*/ 0 h 12"/>
                  <a:gd name="T2" fmla="*/ 6 w 12"/>
                  <a:gd name="T3" fmla="*/ 0 h 12"/>
                  <a:gd name="T4" fmla="*/ 6 w 12"/>
                  <a:gd name="T5" fmla="*/ 6 h 12"/>
                  <a:gd name="T6" fmla="*/ 12 w 12"/>
                  <a:gd name="T7" fmla="*/ 6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2"/>
                  <a:gd name="T26" fmla="*/ 12 w 1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2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" name="Freeform 81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91" y="1677"/>
                <a:ext cx="11" cy="11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2"/>
                  <a:gd name="T29" fmla="*/ 12 w 12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3012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8964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LANTATIONS EN AFRIQU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grpSp>
        <p:nvGrpSpPr>
          <p:cNvPr id="92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411760" y="1613050"/>
            <a:ext cx="5142021" cy="4840291"/>
            <a:chOff x="989" y="785"/>
            <a:chExt cx="3509" cy="3049"/>
          </a:xfrm>
          <a:solidFill>
            <a:schemeClr val="accent1"/>
          </a:solidFill>
        </p:grpSpPr>
        <p:sp>
          <p:nvSpPr>
            <p:cNvPr id="93" name="Freeform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1540" y="1310"/>
              <a:ext cx="699" cy="622"/>
            </a:xfrm>
            <a:custGeom>
              <a:avLst/>
              <a:gdLst>
                <a:gd name="T0" fmla="*/ 24 w 822"/>
                <a:gd name="T1" fmla="*/ 492 h 732"/>
                <a:gd name="T2" fmla="*/ 36 w 822"/>
                <a:gd name="T3" fmla="*/ 462 h 732"/>
                <a:gd name="T4" fmla="*/ 66 w 822"/>
                <a:gd name="T5" fmla="*/ 486 h 732"/>
                <a:gd name="T6" fmla="*/ 84 w 822"/>
                <a:gd name="T7" fmla="*/ 474 h 732"/>
                <a:gd name="T8" fmla="*/ 126 w 822"/>
                <a:gd name="T9" fmla="*/ 474 h 732"/>
                <a:gd name="T10" fmla="*/ 192 w 822"/>
                <a:gd name="T11" fmla="*/ 468 h 732"/>
                <a:gd name="T12" fmla="*/ 312 w 822"/>
                <a:gd name="T13" fmla="*/ 468 h 732"/>
                <a:gd name="T14" fmla="*/ 324 w 822"/>
                <a:gd name="T15" fmla="*/ 354 h 732"/>
                <a:gd name="T16" fmla="*/ 312 w 822"/>
                <a:gd name="T17" fmla="*/ 228 h 732"/>
                <a:gd name="T18" fmla="*/ 294 w 822"/>
                <a:gd name="T19" fmla="*/ 78 h 732"/>
                <a:gd name="T20" fmla="*/ 414 w 822"/>
                <a:gd name="T21" fmla="*/ 24 h 732"/>
                <a:gd name="T22" fmla="*/ 612 w 822"/>
                <a:gd name="T23" fmla="*/ 156 h 732"/>
                <a:gd name="T24" fmla="*/ 690 w 822"/>
                <a:gd name="T25" fmla="*/ 216 h 732"/>
                <a:gd name="T26" fmla="*/ 702 w 822"/>
                <a:gd name="T27" fmla="*/ 234 h 732"/>
                <a:gd name="T28" fmla="*/ 732 w 822"/>
                <a:gd name="T29" fmla="*/ 240 h 732"/>
                <a:gd name="T30" fmla="*/ 768 w 822"/>
                <a:gd name="T31" fmla="*/ 252 h 732"/>
                <a:gd name="T32" fmla="*/ 768 w 822"/>
                <a:gd name="T33" fmla="*/ 276 h 732"/>
                <a:gd name="T34" fmla="*/ 822 w 822"/>
                <a:gd name="T35" fmla="*/ 288 h 732"/>
                <a:gd name="T36" fmla="*/ 804 w 822"/>
                <a:gd name="T37" fmla="*/ 456 h 732"/>
                <a:gd name="T38" fmla="*/ 786 w 822"/>
                <a:gd name="T39" fmla="*/ 480 h 732"/>
                <a:gd name="T40" fmla="*/ 648 w 822"/>
                <a:gd name="T41" fmla="*/ 498 h 732"/>
                <a:gd name="T42" fmla="*/ 618 w 822"/>
                <a:gd name="T43" fmla="*/ 498 h 732"/>
                <a:gd name="T44" fmla="*/ 558 w 822"/>
                <a:gd name="T45" fmla="*/ 504 h 732"/>
                <a:gd name="T46" fmla="*/ 504 w 822"/>
                <a:gd name="T47" fmla="*/ 534 h 732"/>
                <a:gd name="T48" fmla="*/ 468 w 822"/>
                <a:gd name="T49" fmla="*/ 558 h 732"/>
                <a:gd name="T50" fmla="*/ 450 w 822"/>
                <a:gd name="T51" fmla="*/ 558 h 732"/>
                <a:gd name="T52" fmla="*/ 438 w 822"/>
                <a:gd name="T53" fmla="*/ 588 h 732"/>
                <a:gd name="T54" fmla="*/ 408 w 822"/>
                <a:gd name="T55" fmla="*/ 576 h 732"/>
                <a:gd name="T56" fmla="*/ 396 w 822"/>
                <a:gd name="T57" fmla="*/ 594 h 732"/>
                <a:gd name="T58" fmla="*/ 384 w 822"/>
                <a:gd name="T59" fmla="*/ 612 h 732"/>
                <a:gd name="T60" fmla="*/ 378 w 822"/>
                <a:gd name="T61" fmla="*/ 636 h 732"/>
                <a:gd name="T62" fmla="*/ 348 w 822"/>
                <a:gd name="T63" fmla="*/ 648 h 732"/>
                <a:gd name="T64" fmla="*/ 348 w 822"/>
                <a:gd name="T65" fmla="*/ 660 h 732"/>
                <a:gd name="T66" fmla="*/ 348 w 822"/>
                <a:gd name="T67" fmla="*/ 672 h 732"/>
                <a:gd name="T68" fmla="*/ 342 w 822"/>
                <a:gd name="T69" fmla="*/ 702 h 732"/>
                <a:gd name="T70" fmla="*/ 318 w 822"/>
                <a:gd name="T71" fmla="*/ 720 h 732"/>
                <a:gd name="T72" fmla="*/ 306 w 822"/>
                <a:gd name="T73" fmla="*/ 726 h 732"/>
                <a:gd name="T74" fmla="*/ 300 w 822"/>
                <a:gd name="T75" fmla="*/ 714 h 732"/>
                <a:gd name="T76" fmla="*/ 294 w 822"/>
                <a:gd name="T77" fmla="*/ 714 h 732"/>
                <a:gd name="T78" fmla="*/ 282 w 822"/>
                <a:gd name="T79" fmla="*/ 720 h 732"/>
                <a:gd name="T80" fmla="*/ 246 w 822"/>
                <a:gd name="T81" fmla="*/ 732 h 732"/>
                <a:gd name="T82" fmla="*/ 228 w 822"/>
                <a:gd name="T83" fmla="*/ 720 h 732"/>
                <a:gd name="T84" fmla="*/ 204 w 822"/>
                <a:gd name="T85" fmla="*/ 726 h 732"/>
                <a:gd name="T86" fmla="*/ 198 w 822"/>
                <a:gd name="T87" fmla="*/ 690 h 732"/>
                <a:gd name="T88" fmla="*/ 186 w 822"/>
                <a:gd name="T89" fmla="*/ 684 h 732"/>
                <a:gd name="T90" fmla="*/ 180 w 822"/>
                <a:gd name="T91" fmla="*/ 660 h 732"/>
                <a:gd name="T92" fmla="*/ 168 w 822"/>
                <a:gd name="T93" fmla="*/ 636 h 732"/>
                <a:gd name="T94" fmla="*/ 144 w 822"/>
                <a:gd name="T95" fmla="*/ 618 h 732"/>
                <a:gd name="T96" fmla="*/ 138 w 822"/>
                <a:gd name="T97" fmla="*/ 630 h 732"/>
                <a:gd name="T98" fmla="*/ 120 w 822"/>
                <a:gd name="T99" fmla="*/ 636 h 732"/>
                <a:gd name="T100" fmla="*/ 96 w 822"/>
                <a:gd name="T101" fmla="*/ 636 h 732"/>
                <a:gd name="T102" fmla="*/ 72 w 822"/>
                <a:gd name="T103" fmla="*/ 642 h 732"/>
                <a:gd name="T104" fmla="*/ 54 w 822"/>
                <a:gd name="T105" fmla="*/ 636 h 732"/>
                <a:gd name="T106" fmla="*/ 42 w 822"/>
                <a:gd name="T107" fmla="*/ 624 h 732"/>
                <a:gd name="T108" fmla="*/ 42 w 822"/>
                <a:gd name="T109" fmla="*/ 594 h 732"/>
                <a:gd name="T110" fmla="*/ 18 w 822"/>
                <a:gd name="T111" fmla="*/ 576 h 732"/>
                <a:gd name="T112" fmla="*/ 12 w 822"/>
                <a:gd name="T113" fmla="*/ 540 h 732"/>
                <a:gd name="T114" fmla="*/ 6 w 822"/>
                <a:gd name="T115" fmla="*/ 516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22"/>
                <a:gd name="T175" fmla="*/ 0 h 732"/>
                <a:gd name="T176" fmla="*/ 822 w 822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22" h="732">
                  <a:moveTo>
                    <a:pt x="0" y="504"/>
                  </a:moveTo>
                  <a:lnTo>
                    <a:pt x="6" y="504"/>
                  </a:lnTo>
                  <a:lnTo>
                    <a:pt x="12" y="510"/>
                  </a:lnTo>
                  <a:lnTo>
                    <a:pt x="12" y="504"/>
                  </a:lnTo>
                  <a:lnTo>
                    <a:pt x="18" y="504"/>
                  </a:lnTo>
                  <a:lnTo>
                    <a:pt x="24" y="498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6" y="468"/>
                  </a:lnTo>
                  <a:lnTo>
                    <a:pt x="36" y="462"/>
                  </a:lnTo>
                  <a:lnTo>
                    <a:pt x="42" y="462"/>
                  </a:lnTo>
                  <a:lnTo>
                    <a:pt x="48" y="468"/>
                  </a:lnTo>
                  <a:lnTo>
                    <a:pt x="48" y="474"/>
                  </a:lnTo>
                  <a:lnTo>
                    <a:pt x="54" y="474"/>
                  </a:lnTo>
                  <a:lnTo>
                    <a:pt x="60" y="480"/>
                  </a:lnTo>
                  <a:lnTo>
                    <a:pt x="66" y="480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72" y="486"/>
                  </a:lnTo>
                  <a:lnTo>
                    <a:pt x="72" y="480"/>
                  </a:lnTo>
                  <a:lnTo>
                    <a:pt x="78" y="480"/>
                  </a:lnTo>
                  <a:lnTo>
                    <a:pt x="78" y="474"/>
                  </a:lnTo>
                  <a:lnTo>
                    <a:pt x="84" y="474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74"/>
                  </a:lnTo>
                  <a:lnTo>
                    <a:pt x="108" y="474"/>
                  </a:lnTo>
                  <a:lnTo>
                    <a:pt x="114" y="474"/>
                  </a:lnTo>
                  <a:lnTo>
                    <a:pt x="120" y="474"/>
                  </a:lnTo>
                  <a:lnTo>
                    <a:pt x="126" y="474"/>
                  </a:lnTo>
                  <a:lnTo>
                    <a:pt x="144" y="474"/>
                  </a:lnTo>
                  <a:lnTo>
                    <a:pt x="138" y="462"/>
                  </a:lnTo>
                  <a:lnTo>
                    <a:pt x="144" y="462"/>
                  </a:lnTo>
                  <a:lnTo>
                    <a:pt x="150" y="462"/>
                  </a:lnTo>
                  <a:lnTo>
                    <a:pt x="144" y="468"/>
                  </a:lnTo>
                  <a:lnTo>
                    <a:pt x="180" y="468"/>
                  </a:lnTo>
                  <a:lnTo>
                    <a:pt x="192" y="468"/>
                  </a:lnTo>
                  <a:lnTo>
                    <a:pt x="198" y="468"/>
                  </a:lnTo>
                  <a:lnTo>
                    <a:pt x="216" y="468"/>
                  </a:lnTo>
                  <a:lnTo>
                    <a:pt x="228" y="468"/>
                  </a:lnTo>
                  <a:lnTo>
                    <a:pt x="252" y="468"/>
                  </a:lnTo>
                  <a:lnTo>
                    <a:pt x="258" y="468"/>
                  </a:lnTo>
                  <a:lnTo>
                    <a:pt x="276" y="468"/>
                  </a:lnTo>
                  <a:lnTo>
                    <a:pt x="312" y="468"/>
                  </a:lnTo>
                  <a:lnTo>
                    <a:pt x="330" y="468"/>
                  </a:lnTo>
                  <a:lnTo>
                    <a:pt x="336" y="468"/>
                  </a:lnTo>
                  <a:lnTo>
                    <a:pt x="348" y="426"/>
                  </a:lnTo>
                  <a:lnTo>
                    <a:pt x="330" y="420"/>
                  </a:lnTo>
                  <a:lnTo>
                    <a:pt x="330" y="396"/>
                  </a:lnTo>
                  <a:lnTo>
                    <a:pt x="324" y="372"/>
                  </a:lnTo>
                  <a:lnTo>
                    <a:pt x="324" y="354"/>
                  </a:lnTo>
                  <a:lnTo>
                    <a:pt x="324" y="348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28"/>
                  </a:lnTo>
                  <a:lnTo>
                    <a:pt x="306" y="192"/>
                  </a:lnTo>
                  <a:lnTo>
                    <a:pt x="300" y="138"/>
                  </a:lnTo>
                  <a:lnTo>
                    <a:pt x="300" y="114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294" y="78"/>
                  </a:lnTo>
                  <a:lnTo>
                    <a:pt x="294" y="66"/>
                  </a:lnTo>
                  <a:lnTo>
                    <a:pt x="288" y="48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360" y="0"/>
                  </a:lnTo>
                  <a:lnTo>
                    <a:pt x="372" y="0"/>
                  </a:lnTo>
                  <a:lnTo>
                    <a:pt x="414" y="24"/>
                  </a:lnTo>
                  <a:lnTo>
                    <a:pt x="438" y="36"/>
                  </a:lnTo>
                  <a:lnTo>
                    <a:pt x="444" y="48"/>
                  </a:lnTo>
                  <a:lnTo>
                    <a:pt x="462" y="54"/>
                  </a:lnTo>
                  <a:lnTo>
                    <a:pt x="528" y="96"/>
                  </a:lnTo>
                  <a:lnTo>
                    <a:pt x="600" y="144"/>
                  </a:lnTo>
                  <a:lnTo>
                    <a:pt x="612" y="150"/>
                  </a:lnTo>
                  <a:lnTo>
                    <a:pt x="612" y="156"/>
                  </a:lnTo>
                  <a:lnTo>
                    <a:pt x="666" y="192"/>
                  </a:lnTo>
                  <a:lnTo>
                    <a:pt x="666" y="198"/>
                  </a:lnTo>
                  <a:lnTo>
                    <a:pt x="666" y="210"/>
                  </a:lnTo>
                  <a:lnTo>
                    <a:pt x="672" y="210"/>
                  </a:lnTo>
                  <a:lnTo>
                    <a:pt x="678" y="210"/>
                  </a:lnTo>
                  <a:lnTo>
                    <a:pt x="684" y="216"/>
                  </a:lnTo>
                  <a:lnTo>
                    <a:pt x="690" y="216"/>
                  </a:lnTo>
                  <a:lnTo>
                    <a:pt x="690" y="222"/>
                  </a:lnTo>
                  <a:lnTo>
                    <a:pt x="690" y="228"/>
                  </a:lnTo>
                  <a:lnTo>
                    <a:pt x="696" y="228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8" y="234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6" y="234"/>
                  </a:lnTo>
                  <a:lnTo>
                    <a:pt x="726" y="240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38" y="246"/>
                  </a:lnTo>
                  <a:lnTo>
                    <a:pt x="744" y="246"/>
                  </a:lnTo>
                  <a:lnTo>
                    <a:pt x="750" y="246"/>
                  </a:lnTo>
                  <a:lnTo>
                    <a:pt x="756" y="246"/>
                  </a:lnTo>
                  <a:lnTo>
                    <a:pt x="762" y="252"/>
                  </a:lnTo>
                  <a:lnTo>
                    <a:pt x="768" y="252"/>
                  </a:lnTo>
                  <a:lnTo>
                    <a:pt x="768" y="258"/>
                  </a:lnTo>
                  <a:lnTo>
                    <a:pt x="768" y="264"/>
                  </a:lnTo>
                  <a:lnTo>
                    <a:pt x="768" y="270"/>
                  </a:lnTo>
                  <a:lnTo>
                    <a:pt x="774" y="270"/>
                  </a:lnTo>
                  <a:lnTo>
                    <a:pt x="768" y="270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8" y="282"/>
                  </a:lnTo>
                  <a:lnTo>
                    <a:pt x="768" y="288"/>
                  </a:lnTo>
                  <a:lnTo>
                    <a:pt x="762" y="288"/>
                  </a:lnTo>
                  <a:lnTo>
                    <a:pt x="768" y="294"/>
                  </a:lnTo>
                  <a:lnTo>
                    <a:pt x="774" y="294"/>
                  </a:lnTo>
                  <a:lnTo>
                    <a:pt x="774" y="300"/>
                  </a:lnTo>
                  <a:lnTo>
                    <a:pt x="822" y="288"/>
                  </a:lnTo>
                  <a:lnTo>
                    <a:pt x="822" y="396"/>
                  </a:lnTo>
                  <a:lnTo>
                    <a:pt x="810" y="402"/>
                  </a:lnTo>
                  <a:lnTo>
                    <a:pt x="810" y="414"/>
                  </a:lnTo>
                  <a:lnTo>
                    <a:pt x="810" y="426"/>
                  </a:lnTo>
                  <a:lnTo>
                    <a:pt x="810" y="444"/>
                  </a:lnTo>
                  <a:lnTo>
                    <a:pt x="804" y="450"/>
                  </a:lnTo>
                  <a:lnTo>
                    <a:pt x="804" y="456"/>
                  </a:lnTo>
                  <a:lnTo>
                    <a:pt x="804" y="462"/>
                  </a:lnTo>
                  <a:lnTo>
                    <a:pt x="798" y="462"/>
                  </a:lnTo>
                  <a:lnTo>
                    <a:pt x="792" y="462"/>
                  </a:lnTo>
                  <a:lnTo>
                    <a:pt x="792" y="468"/>
                  </a:lnTo>
                  <a:lnTo>
                    <a:pt x="786" y="468"/>
                  </a:lnTo>
                  <a:lnTo>
                    <a:pt x="786" y="474"/>
                  </a:lnTo>
                  <a:lnTo>
                    <a:pt x="786" y="480"/>
                  </a:lnTo>
                  <a:lnTo>
                    <a:pt x="762" y="480"/>
                  </a:lnTo>
                  <a:lnTo>
                    <a:pt x="738" y="474"/>
                  </a:lnTo>
                  <a:lnTo>
                    <a:pt x="702" y="48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98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6" y="492"/>
                  </a:lnTo>
                  <a:lnTo>
                    <a:pt x="630" y="498"/>
                  </a:lnTo>
                  <a:lnTo>
                    <a:pt x="624" y="492"/>
                  </a:lnTo>
                  <a:lnTo>
                    <a:pt x="618" y="492"/>
                  </a:lnTo>
                  <a:lnTo>
                    <a:pt x="618" y="498"/>
                  </a:lnTo>
                  <a:lnTo>
                    <a:pt x="612" y="498"/>
                  </a:lnTo>
                  <a:lnTo>
                    <a:pt x="612" y="492"/>
                  </a:lnTo>
                  <a:lnTo>
                    <a:pt x="600" y="492"/>
                  </a:lnTo>
                  <a:lnTo>
                    <a:pt x="588" y="492"/>
                  </a:lnTo>
                  <a:lnTo>
                    <a:pt x="576" y="492"/>
                  </a:lnTo>
                  <a:lnTo>
                    <a:pt x="564" y="498"/>
                  </a:lnTo>
                  <a:lnTo>
                    <a:pt x="558" y="504"/>
                  </a:lnTo>
                  <a:lnTo>
                    <a:pt x="546" y="510"/>
                  </a:lnTo>
                  <a:lnTo>
                    <a:pt x="528" y="516"/>
                  </a:lnTo>
                  <a:lnTo>
                    <a:pt x="522" y="522"/>
                  </a:lnTo>
                  <a:lnTo>
                    <a:pt x="516" y="522"/>
                  </a:lnTo>
                  <a:lnTo>
                    <a:pt x="510" y="522"/>
                  </a:lnTo>
                  <a:lnTo>
                    <a:pt x="510" y="534"/>
                  </a:lnTo>
                  <a:lnTo>
                    <a:pt x="504" y="534"/>
                  </a:lnTo>
                  <a:lnTo>
                    <a:pt x="498" y="534"/>
                  </a:lnTo>
                  <a:lnTo>
                    <a:pt x="486" y="528"/>
                  </a:lnTo>
                  <a:lnTo>
                    <a:pt x="480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468" y="558"/>
                  </a:lnTo>
                  <a:lnTo>
                    <a:pt x="462" y="564"/>
                  </a:lnTo>
                  <a:lnTo>
                    <a:pt x="462" y="558"/>
                  </a:lnTo>
                  <a:lnTo>
                    <a:pt x="456" y="564"/>
                  </a:lnTo>
                  <a:lnTo>
                    <a:pt x="456" y="558"/>
                  </a:lnTo>
                  <a:lnTo>
                    <a:pt x="450" y="558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44" y="570"/>
                  </a:lnTo>
                  <a:lnTo>
                    <a:pt x="450" y="570"/>
                  </a:lnTo>
                  <a:lnTo>
                    <a:pt x="450" y="576"/>
                  </a:lnTo>
                  <a:lnTo>
                    <a:pt x="450" y="582"/>
                  </a:lnTo>
                  <a:lnTo>
                    <a:pt x="438" y="582"/>
                  </a:lnTo>
                  <a:lnTo>
                    <a:pt x="438" y="58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20" y="576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08" y="570"/>
                  </a:lnTo>
                  <a:lnTo>
                    <a:pt x="408" y="576"/>
                  </a:lnTo>
                  <a:lnTo>
                    <a:pt x="402" y="576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396" y="588"/>
                  </a:lnTo>
                  <a:lnTo>
                    <a:pt x="396" y="594"/>
                  </a:lnTo>
                  <a:lnTo>
                    <a:pt x="402" y="594"/>
                  </a:lnTo>
                  <a:lnTo>
                    <a:pt x="402" y="600"/>
                  </a:lnTo>
                  <a:lnTo>
                    <a:pt x="402" y="606"/>
                  </a:lnTo>
                  <a:lnTo>
                    <a:pt x="396" y="606"/>
                  </a:lnTo>
                  <a:lnTo>
                    <a:pt x="390" y="606"/>
                  </a:lnTo>
                  <a:lnTo>
                    <a:pt x="384" y="606"/>
                  </a:lnTo>
                  <a:lnTo>
                    <a:pt x="384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90" y="624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2" y="654"/>
                  </a:lnTo>
                  <a:lnTo>
                    <a:pt x="348" y="654"/>
                  </a:lnTo>
                  <a:lnTo>
                    <a:pt x="348" y="660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72"/>
                  </a:lnTo>
                  <a:lnTo>
                    <a:pt x="354" y="672"/>
                  </a:lnTo>
                  <a:lnTo>
                    <a:pt x="348" y="672"/>
                  </a:lnTo>
                  <a:lnTo>
                    <a:pt x="348" y="678"/>
                  </a:lnTo>
                  <a:lnTo>
                    <a:pt x="348" y="684"/>
                  </a:lnTo>
                  <a:lnTo>
                    <a:pt x="342" y="684"/>
                  </a:lnTo>
                  <a:lnTo>
                    <a:pt x="342" y="690"/>
                  </a:lnTo>
                  <a:lnTo>
                    <a:pt x="336" y="690"/>
                  </a:lnTo>
                  <a:lnTo>
                    <a:pt x="336" y="696"/>
                  </a:lnTo>
                  <a:lnTo>
                    <a:pt x="342" y="702"/>
                  </a:lnTo>
                  <a:lnTo>
                    <a:pt x="336" y="702"/>
                  </a:lnTo>
                  <a:lnTo>
                    <a:pt x="336" y="708"/>
                  </a:lnTo>
                  <a:lnTo>
                    <a:pt x="336" y="714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18" y="720"/>
                  </a:lnTo>
                  <a:lnTo>
                    <a:pt x="318" y="726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2"/>
                  </a:lnTo>
                  <a:lnTo>
                    <a:pt x="300" y="732"/>
                  </a:lnTo>
                  <a:lnTo>
                    <a:pt x="300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08"/>
                  </a:lnTo>
                  <a:lnTo>
                    <a:pt x="294" y="708"/>
                  </a:lnTo>
                  <a:lnTo>
                    <a:pt x="288" y="708"/>
                  </a:lnTo>
                  <a:lnTo>
                    <a:pt x="288" y="714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2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0" y="726"/>
                  </a:lnTo>
                  <a:lnTo>
                    <a:pt x="240" y="720"/>
                  </a:lnTo>
                  <a:lnTo>
                    <a:pt x="234" y="720"/>
                  </a:lnTo>
                  <a:lnTo>
                    <a:pt x="228" y="720"/>
                  </a:lnTo>
                  <a:lnTo>
                    <a:pt x="228" y="726"/>
                  </a:lnTo>
                  <a:lnTo>
                    <a:pt x="222" y="726"/>
                  </a:lnTo>
                  <a:lnTo>
                    <a:pt x="222" y="732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0" y="726"/>
                  </a:lnTo>
                  <a:lnTo>
                    <a:pt x="204" y="726"/>
                  </a:lnTo>
                  <a:lnTo>
                    <a:pt x="204" y="720"/>
                  </a:lnTo>
                  <a:lnTo>
                    <a:pt x="198" y="720"/>
                  </a:lnTo>
                  <a:lnTo>
                    <a:pt x="198" y="714"/>
                  </a:lnTo>
                  <a:lnTo>
                    <a:pt x="198" y="708"/>
                  </a:lnTo>
                  <a:lnTo>
                    <a:pt x="198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6" y="696"/>
                  </a:lnTo>
                  <a:lnTo>
                    <a:pt x="180" y="696"/>
                  </a:lnTo>
                  <a:lnTo>
                    <a:pt x="180" y="690"/>
                  </a:lnTo>
                  <a:lnTo>
                    <a:pt x="180" y="684"/>
                  </a:lnTo>
                  <a:lnTo>
                    <a:pt x="186" y="684"/>
                  </a:lnTo>
                  <a:lnTo>
                    <a:pt x="186" y="678"/>
                  </a:lnTo>
                  <a:lnTo>
                    <a:pt x="192" y="678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80" y="666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74" y="654"/>
                  </a:lnTo>
                  <a:lnTo>
                    <a:pt x="174" y="648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36"/>
                  </a:lnTo>
                  <a:lnTo>
                    <a:pt x="162" y="636"/>
                  </a:lnTo>
                  <a:lnTo>
                    <a:pt x="162" y="630"/>
                  </a:lnTo>
                  <a:lnTo>
                    <a:pt x="162" y="624"/>
                  </a:lnTo>
                  <a:lnTo>
                    <a:pt x="156" y="624"/>
                  </a:lnTo>
                  <a:lnTo>
                    <a:pt x="156" y="618"/>
                  </a:lnTo>
                  <a:lnTo>
                    <a:pt x="150" y="618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50" y="624"/>
                  </a:lnTo>
                  <a:lnTo>
                    <a:pt x="150" y="630"/>
                  </a:lnTo>
                  <a:lnTo>
                    <a:pt x="144" y="630"/>
                  </a:lnTo>
                  <a:lnTo>
                    <a:pt x="138" y="630"/>
                  </a:lnTo>
                  <a:lnTo>
                    <a:pt x="138" y="636"/>
                  </a:lnTo>
                  <a:lnTo>
                    <a:pt x="132" y="636"/>
                  </a:lnTo>
                  <a:lnTo>
                    <a:pt x="126" y="636"/>
                  </a:lnTo>
                  <a:lnTo>
                    <a:pt x="132" y="642"/>
                  </a:lnTo>
                  <a:lnTo>
                    <a:pt x="126" y="642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08" y="636"/>
                  </a:lnTo>
                  <a:lnTo>
                    <a:pt x="102" y="636"/>
                  </a:lnTo>
                  <a:lnTo>
                    <a:pt x="102" y="630"/>
                  </a:lnTo>
                  <a:lnTo>
                    <a:pt x="96" y="636"/>
                  </a:lnTo>
                  <a:lnTo>
                    <a:pt x="96" y="630"/>
                  </a:lnTo>
                  <a:lnTo>
                    <a:pt x="96" y="636"/>
                  </a:lnTo>
                  <a:lnTo>
                    <a:pt x="90" y="636"/>
                  </a:lnTo>
                  <a:lnTo>
                    <a:pt x="90" y="642"/>
                  </a:lnTo>
                  <a:lnTo>
                    <a:pt x="84" y="642"/>
                  </a:lnTo>
                  <a:lnTo>
                    <a:pt x="84" y="648"/>
                  </a:lnTo>
                  <a:lnTo>
                    <a:pt x="78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6" y="630"/>
                  </a:lnTo>
                  <a:lnTo>
                    <a:pt x="60" y="636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48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42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2" y="606"/>
                  </a:lnTo>
                  <a:lnTo>
                    <a:pt x="42" y="600"/>
                  </a:lnTo>
                  <a:lnTo>
                    <a:pt x="48" y="594"/>
                  </a:lnTo>
                  <a:lnTo>
                    <a:pt x="42" y="594"/>
                  </a:lnTo>
                  <a:lnTo>
                    <a:pt x="42" y="588"/>
                  </a:lnTo>
                  <a:lnTo>
                    <a:pt x="36" y="588"/>
                  </a:lnTo>
                  <a:lnTo>
                    <a:pt x="36" y="582"/>
                  </a:lnTo>
                  <a:lnTo>
                    <a:pt x="36" y="576"/>
                  </a:lnTo>
                  <a:lnTo>
                    <a:pt x="30" y="576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2" y="546"/>
                  </a:lnTo>
                  <a:lnTo>
                    <a:pt x="12" y="540"/>
                  </a:lnTo>
                  <a:lnTo>
                    <a:pt x="12" y="534"/>
                  </a:lnTo>
                  <a:lnTo>
                    <a:pt x="12" y="528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0" y="510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6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504" y="846"/>
              <a:ext cx="510" cy="352"/>
            </a:xfrm>
            <a:custGeom>
              <a:avLst/>
              <a:gdLst>
                <a:gd name="T0" fmla="*/ 12 w 600"/>
                <a:gd name="T1" fmla="*/ 396 h 414"/>
                <a:gd name="T2" fmla="*/ 42 w 600"/>
                <a:gd name="T3" fmla="*/ 390 h 414"/>
                <a:gd name="T4" fmla="*/ 66 w 600"/>
                <a:gd name="T5" fmla="*/ 384 h 414"/>
                <a:gd name="T6" fmla="*/ 90 w 600"/>
                <a:gd name="T7" fmla="*/ 372 h 414"/>
                <a:gd name="T8" fmla="*/ 102 w 600"/>
                <a:gd name="T9" fmla="*/ 354 h 414"/>
                <a:gd name="T10" fmla="*/ 132 w 600"/>
                <a:gd name="T11" fmla="*/ 342 h 414"/>
                <a:gd name="T12" fmla="*/ 144 w 600"/>
                <a:gd name="T13" fmla="*/ 324 h 414"/>
                <a:gd name="T14" fmla="*/ 156 w 600"/>
                <a:gd name="T15" fmla="*/ 306 h 414"/>
                <a:gd name="T16" fmla="*/ 174 w 600"/>
                <a:gd name="T17" fmla="*/ 282 h 414"/>
                <a:gd name="T18" fmla="*/ 162 w 600"/>
                <a:gd name="T19" fmla="*/ 264 h 414"/>
                <a:gd name="T20" fmla="*/ 162 w 600"/>
                <a:gd name="T21" fmla="*/ 234 h 414"/>
                <a:gd name="T22" fmla="*/ 168 w 600"/>
                <a:gd name="T23" fmla="*/ 216 h 414"/>
                <a:gd name="T24" fmla="*/ 186 w 600"/>
                <a:gd name="T25" fmla="*/ 192 h 414"/>
                <a:gd name="T26" fmla="*/ 192 w 600"/>
                <a:gd name="T27" fmla="*/ 168 h 414"/>
                <a:gd name="T28" fmla="*/ 216 w 600"/>
                <a:gd name="T29" fmla="*/ 150 h 414"/>
                <a:gd name="T30" fmla="*/ 234 w 600"/>
                <a:gd name="T31" fmla="*/ 132 h 414"/>
                <a:gd name="T32" fmla="*/ 258 w 600"/>
                <a:gd name="T33" fmla="*/ 120 h 414"/>
                <a:gd name="T34" fmla="*/ 282 w 600"/>
                <a:gd name="T35" fmla="*/ 108 h 414"/>
                <a:gd name="T36" fmla="*/ 306 w 600"/>
                <a:gd name="T37" fmla="*/ 102 h 414"/>
                <a:gd name="T38" fmla="*/ 324 w 600"/>
                <a:gd name="T39" fmla="*/ 84 h 414"/>
                <a:gd name="T40" fmla="*/ 336 w 600"/>
                <a:gd name="T41" fmla="*/ 60 h 414"/>
                <a:gd name="T42" fmla="*/ 348 w 600"/>
                <a:gd name="T43" fmla="*/ 30 h 414"/>
                <a:gd name="T44" fmla="*/ 360 w 600"/>
                <a:gd name="T45" fmla="*/ 6 h 414"/>
                <a:gd name="T46" fmla="*/ 384 w 600"/>
                <a:gd name="T47" fmla="*/ 0 h 414"/>
                <a:gd name="T48" fmla="*/ 396 w 600"/>
                <a:gd name="T49" fmla="*/ 18 h 414"/>
                <a:gd name="T50" fmla="*/ 414 w 600"/>
                <a:gd name="T51" fmla="*/ 36 h 414"/>
                <a:gd name="T52" fmla="*/ 438 w 600"/>
                <a:gd name="T53" fmla="*/ 36 h 414"/>
                <a:gd name="T54" fmla="*/ 468 w 600"/>
                <a:gd name="T55" fmla="*/ 36 h 414"/>
                <a:gd name="T56" fmla="*/ 492 w 600"/>
                <a:gd name="T57" fmla="*/ 36 h 414"/>
                <a:gd name="T58" fmla="*/ 510 w 600"/>
                <a:gd name="T59" fmla="*/ 36 h 414"/>
                <a:gd name="T60" fmla="*/ 504 w 600"/>
                <a:gd name="T61" fmla="*/ 36 h 414"/>
                <a:gd name="T62" fmla="*/ 510 w 600"/>
                <a:gd name="T63" fmla="*/ 36 h 414"/>
                <a:gd name="T64" fmla="*/ 534 w 600"/>
                <a:gd name="T65" fmla="*/ 42 h 414"/>
                <a:gd name="T66" fmla="*/ 552 w 600"/>
                <a:gd name="T67" fmla="*/ 54 h 414"/>
                <a:gd name="T68" fmla="*/ 564 w 600"/>
                <a:gd name="T69" fmla="*/ 72 h 414"/>
                <a:gd name="T70" fmla="*/ 570 w 600"/>
                <a:gd name="T71" fmla="*/ 102 h 414"/>
                <a:gd name="T72" fmla="*/ 570 w 600"/>
                <a:gd name="T73" fmla="*/ 120 h 414"/>
                <a:gd name="T74" fmla="*/ 576 w 600"/>
                <a:gd name="T75" fmla="*/ 144 h 414"/>
                <a:gd name="T76" fmla="*/ 600 w 600"/>
                <a:gd name="T77" fmla="*/ 174 h 414"/>
                <a:gd name="T78" fmla="*/ 594 w 600"/>
                <a:gd name="T79" fmla="*/ 192 h 414"/>
                <a:gd name="T80" fmla="*/ 576 w 600"/>
                <a:gd name="T81" fmla="*/ 186 h 414"/>
                <a:gd name="T82" fmla="*/ 546 w 600"/>
                <a:gd name="T83" fmla="*/ 186 h 414"/>
                <a:gd name="T84" fmla="*/ 510 w 600"/>
                <a:gd name="T85" fmla="*/ 192 h 414"/>
                <a:gd name="T86" fmla="*/ 510 w 600"/>
                <a:gd name="T87" fmla="*/ 210 h 414"/>
                <a:gd name="T88" fmla="*/ 474 w 600"/>
                <a:gd name="T89" fmla="*/ 216 h 414"/>
                <a:gd name="T90" fmla="*/ 462 w 600"/>
                <a:gd name="T91" fmla="*/ 234 h 414"/>
                <a:gd name="T92" fmla="*/ 474 w 600"/>
                <a:gd name="T93" fmla="*/ 252 h 414"/>
                <a:gd name="T94" fmla="*/ 444 w 600"/>
                <a:gd name="T95" fmla="*/ 258 h 414"/>
                <a:gd name="T96" fmla="*/ 420 w 600"/>
                <a:gd name="T97" fmla="*/ 264 h 414"/>
                <a:gd name="T98" fmla="*/ 408 w 600"/>
                <a:gd name="T99" fmla="*/ 282 h 414"/>
                <a:gd name="T100" fmla="*/ 390 w 600"/>
                <a:gd name="T101" fmla="*/ 294 h 414"/>
                <a:gd name="T102" fmla="*/ 366 w 600"/>
                <a:gd name="T103" fmla="*/ 306 h 414"/>
                <a:gd name="T104" fmla="*/ 336 w 600"/>
                <a:gd name="T105" fmla="*/ 312 h 414"/>
                <a:gd name="T106" fmla="*/ 312 w 600"/>
                <a:gd name="T107" fmla="*/ 312 h 414"/>
                <a:gd name="T108" fmla="*/ 288 w 600"/>
                <a:gd name="T109" fmla="*/ 318 h 414"/>
                <a:gd name="T110" fmla="*/ 270 w 600"/>
                <a:gd name="T111" fmla="*/ 330 h 414"/>
                <a:gd name="T112" fmla="*/ 246 w 600"/>
                <a:gd name="T113" fmla="*/ 342 h 414"/>
                <a:gd name="T114" fmla="*/ 222 w 600"/>
                <a:gd name="T115" fmla="*/ 360 h 414"/>
                <a:gd name="T116" fmla="*/ 0 w 600"/>
                <a:gd name="T117" fmla="*/ 408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0"/>
                <a:gd name="T178" fmla="*/ 0 h 414"/>
                <a:gd name="T179" fmla="*/ 600 w 600"/>
                <a:gd name="T180" fmla="*/ 414 h 4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5" name="Freeform 7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1336" y="1213"/>
              <a:ext cx="520" cy="531"/>
            </a:xfrm>
            <a:custGeom>
              <a:avLst/>
              <a:gdLst>
                <a:gd name="T0" fmla="*/ 558 w 612"/>
                <a:gd name="T1" fmla="*/ 78 h 624"/>
                <a:gd name="T2" fmla="*/ 522 w 612"/>
                <a:gd name="T3" fmla="*/ 114 h 624"/>
                <a:gd name="T4" fmla="*/ 534 w 612"/>
                <a:gd name="T5" fmla="*/ 192 h 624"/>
                <a:gd name="T6" fmla="*/ 540 w 612"/>
                <a:gd name="T7" fmla="*/ 228 h 624"/>
                <a:gd name="T8" fmla="*/ 552 w 612"/>
                <a:gd name="T9" fmla="*/ 354 h 624"/>
                <a:gd name="T10" fmla="*/ 558 w 612"/>
                <a:gd name="T11" fmla="*/ 396 h 624"/>
                <a:gd name="T12" fmla="*/ 570 w 612"/>
                <a:gd name="T13" fmla="*/ 510 h 624"/>
                <a:gd name="T14" fmla="*/ 570 w 612"/>
                <a:gd name="T15" fmla="*/ 582 h 624"/>
                <a:gd name="T16" fmla="*/ 492 w 612"/>
                <a:gd name="T17" fmla="*/ 582 h 624"/>
                <a:gd name="T18" fmla="*/ 432 w 612"/>
                <a:gd name="T19" fmla="*/ 582 h 624"/>
                <a:gd name="T20" fmla="*/ 384 w 612"/>
                <a:gd name="T21" fmla="*/ 576 h 624"/>
                <a:gd name="T22" fmla="*/ 360 w 612"/>
                <a:gd name="T23" fmla="*/ 588 h 624"/>
                <a:gd name="T24" fmla="*/ 336 w 612"/>
                <a:gd name="T25" fmla="*/ 588 h 624"/>
                <a:gd name="T26" fmla="*/ 318 w 612"/>
                <a:gd name="T27" fmla="*/ 594 h 624"/>
                <a:gd name="T28" fmla="*/ 306 w 612"/>
                <a:gd name="T29" fmla="*/ 606 h 624"/>
                <a:gd name="T30" fmla="*/ 294 w 612"/>
                <a:gd name="T31" fmla="*/ 588 h 624"/>
                <a:gd name="T32" fmla="*/ 276 w 612"/>
                <a:gd name="T33" fmla="*/ 576 h 624"/>
                <a:gd name="T34" fmla="*/ 264 w 612"/>
                <a:gd name="T35" fmla="*/ 588 h 624"/>
                <a:gd name="T36" fmla="*/ 264 w 612"/>
                <a:gd name="T37" fmla="*/ 612 h 624"/>
                <a:gd name="T38" fmla="*/ 246 w 612"/>
                <a:gd name="T39" fmla="*/ 618 h 624"/>
                <a:gd name="T40" fmla="*/ 228 w 612"/>
                <a:gd name="T41" fmla="*/ 612 h 624"/>
                <a:gd name="T42" fmla="*/ 210 w 612"/>
                <a:gd name="T43" fmla="*/ 600 h 624"/>
                <a:gd name="T44" fmla="*/ 204 w 612"/>
                <a:gd name="T45" fmla="*/ 588 h 624"/>
                <a:gd name="T46" fmla="*/ 192 w 612"/>
                <a:gd name="T47" fmla="*/ 576 h 624"/>
                <a:gd name="T48" fmla="*/ 180 w 612"/>
                <a:gd name="T49" fmla="*/ 552 h 624"/>
                <a:gd name="T50" fmla="*/ 162 w 612"/>
                <a:gd name="T51" fmla="*/ 546 h 624"/>
                <a:gd name="T52" fmla="*/ 150 w 612"/>
                <a:gd name="T53" fmla="*/ 534 h 624"/>
                <a:gd name="T54" fmla="*/ 132 w 612"/>
                <a:gd name="T55" fmla="*/ 528 h 624"/>
                <a:gd name="T56" fmla="*/ 108 w 612"/>
                <a:gd name="T57" fmla="*/ 528 h 624"/>
                <a:gd name="T58" fmla="*/ 102 w 612"/>
                <a:gd name="T59" fmla="*/ 522 h 624"/>
                <a:gd name="T60" fmla="*/ 96 w 612"/>
                <a:gd name="T61" fmla="*/ 528 h 624"/>
                <a:gd name="T62" fmla="*/ 84 w 612"/>
                <a:gd name="T63" fmla="*/ 528 h 624"/>
                <a:gd name="T64" fmla="*/ 66 w 612"/>
                <a:gd name="T65" fmla="*/ 534 h 624"/>
                <a:gd name="T66" fmla="*/ 48 w 612"/>
                <a:gd name="T67" fmla="*/ 528 h 624"/>
                <a:gd name="T68" fmla="*/ 36 w 612"/>
                <a:gd name="T69" fmla="*/ 540 h 624"/>
                <a:gd name="T70" fmla="*/ 30 w 612"/>
                <a:gd name="T71" fmla="*/ 552 h 624"/>
                <a:gd name="T72" fmla="*/ 30 w 612"/>
                <a:gd name="T73" fmla="*/ 540 h 624"/>
                <a:gd name="T74" fmla="*/ 36 w 612"/>
                <a:gd name="T75" fmla="*/ 516 h 624"/>
                <a:gd name="T76" fmla="*/ 54 w 612"/>
                <a:gd name="T77" fmla="*/ 474 h 624"/>
                <a:gd name="T78" fmla="*/ 54 w 612"/>
                <a:gd name="T79" fmla="*/ 450 h 624"/>
                <a:gd name="T80" fmla="*/ 48 w 612"/>
                <a:gd name="T81" fmla="*/ 426 h 624"/>
                <a:gd name="T82" fmla="*/ 36 w 612"/>
                <a:gd name="T83" fmla="*/ 402 h 624"/>
                <a:gd name="T84" fmla="*/ 36 w 612"/>
                <a:gd name="T85" fmla="*/ 390 h 624"/>
                <a:gd name="T86" fmla="*/ 36 w 612"/>
                <a:gd name="T87" fmla="*/ 390 h 624"/>
                <a:gd name="T88" fmla="*/ 36 w 612"/>
                <a:gd name="T89" fmla="*/ 378 h 624"/>
                <a:gd name="T90" fmla="*/ 42 w 612"/>
                <a:gd name="T91" fmla="*/ 360 h 624"/>
                <a:gd name="T92" fmla="*/ 42 w 612"/>
                <a:gd name="T93" fmla="*/ 342 h 624"/>
                <a:gd name="T94" fmla="*/ 30 w 612"/>
                <a:gd name="T95" fmla="*/ 330 h 624"/>
                <a:gd name="T96" fmla="*/ 24 w 612"/>
                <a:gd name="T97" fmla="*/ 324 h 624"/>
                <a:gd name="T98" fmla="*/ 12 w 612"/>
                <a:gd name="T99" fmla="*/ 312 h 624"/>
                <a:gd name="T100" fmla="*/ 12 w 612"/>
                <a:gd name="T101" fmla="*/ 306 h 624"/>
                <a:gd name="T102" fmla="*/ 12 w 612"/>
                <a:gd name="T103" fmla="*/ 306 h 624"/>
                <a:gd name="T104" fmla="*/ 12 w 612"/>
                <a:gd name="T105" fmla="*/ 294 h 624"/>
                <a:gd name="T106" fmla="*/ 6 w 612"/>
                <a:gd name="T107" fmla="*/ 312 h 624"/>
                <a:gd name="T108" fmla="*/ 0 w 612"/>
                <a:gd name="T109" fmla="*/ 324 h 624"/>
                <a:gd name="T110" fmla="*/ 6 w 612"/>
                <a:gd name="T111" fmla="*/ 306 h 624"/>
                <a:gd name="T112" fmla="*/ 108 w 612"/>
                <a:gd name="T113" fmla="*/ 294 h 624"/>
                <a:gd name="T114" fmla="*/ 198 w 612"/>
                <a:gd name="T115" fmla="*/ 264 h 624"/>
                <a:gd name="T116" fmla="*/ 204 w 612"/>
                <a:gd name="T117" fmla="*/ 204 h 624"/>
                <a:gd name="T118" fmla="*/ 216 w 612"/>
                <a:gd name="T119" fmla="*/ 192 h 624"/>
                <a:gd name="T120" fmla="*/ 252 w 612"/>
                <a:gd name="T121" fmla="*/ 60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12"/>
                <a:gd name="T184" fmla="*/ 0 h 624"/>
                <a:gd name="T185" fmla="*/ 612 w 612"/>
                <a:gd name="T186" fmla="*/ 624 h 6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8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36" y="1193"/>
              <a:ext cx="357" cy="296"/>
            </a:xfrm>
            <a:custGeom>
              <a:avLst/>
              <a:gdLst>
                <a:gd name="T0" fmla="*/ 264 w 420"/>
                <a:gd name="T1" fmla="*/ 0 h 348"/>
                <a:gd name="T2" fmla="*/ 348 w 420"/>
                <a:gd name="T3" fmla="*/ 0 h 348"/>
                <a:gd name="T4" fmla="*/ 420 w 420"/>
                <a:gd name="T5" fmla="*/ 24 h 348"/>
                <a:gd name="T6" fmla="*/ 420 w 420"/>
                <a:gd name="T7" fmla="*/ 84 h 348"/>
                <a:gd name="T8" fmla="*/ 252 w 420"/>
                <a:gd name="T9" fmla="*/ 144 h 348"/>
                <a:gd name="T10" fmla="*/ 246 w 420"/>
                <a:gd name="T11" fmla="*/ 210 h 348"/>
                <a:gd name="T12" fmla="*/ 210 w 420"/>
                <a:gd name="T13" fmla="*/ 216 h 348"/>
                <a:gd name="T14" fmla="*/ 204 w 420"/>
                <a:gd name="T15" fmla="*/ 222 h 348"/>
                <a:gd name="T16" fmla="*/ 204 w 420"/>
                <a:gd name="T17" fmla="*/ 234 h 348"/>
                <a:gd name="T18" fmla="*/ 198 w 420"/>
                <a:gd name="T19" fmla="*/ 246 h 348"/>
                <a:gd name="T20" fmla="*/ 204 w 420"/>
                <a:gd name="T21" fmla="*/ 300 h 348"/>
                <a:gd name="T22" fmla="*/ 162 w 420"/>
                <a:gd name="T23" fmla="*/ 318 h 348"/>
                <a:gd name="T24" fmla="*/ 60 w 420"/>
                <a:gd name="T25" fmla="*/ 318 h 348"/>
                <a:gd name="T26" fmla="*/ 6 w 420"/>
                <a:gd name="T27" fmla="*/ 318 h 348"/>
                <a:gd name="T28" fmla="*/ 6 w 420"/>
                <a:gd name="T29" fmla="*/ 336 h 348"/>
                <a:gd name="T30" fmla="*/ 0 w 420"/>
                <a:gd name="T31" fmla="*/ 342 h 348"/>
                <a:gd name="T32" fmla="*/ 0 w 420"/>
                <a:gd name="T33" fmla="*/ 342 h 348"/>
                <a:gd name="T34" fmla="*/ 0 w 420"/>
                <a:gd name="T35" fmla="*/ 330 h 348"/>
                <a:gd name="T36" fmla="*/ 6 w 420"/>
                <a:gd name="T37" fmla="*/ 318 h 348"/>
                <a:gd name="T38" fmla="*/ 6 w 420"/>
                <a:gd name="T39" fmla="*/ 306 h 348"/>
                <a:gd name="T40" fmla="*/ 6 w 420"/>
                <a:gd name="T41" fmla="*/ 294 h 348"/>
                <a:gd name="T42" fmla="*/ 12 w 420"/>
                <a:gd name="T43" fmla="*/ 282 h 348"/>
                <a:gd name="T44" fmla="*/ 18 w 420"/>
                <a:gd name="T45" fmla="*/ 276 h 348"/>
                <a:gd name="T46" fmla="*/ 24 w 420"/>
                <a:gd name="T47" fmla="*/ 270 h 348"/>
                <a:gd name="T48" fmla="*/ 30 w 420"/>
                <a:gd name="T49" fmla="*/ 264 h 348"/>
                <a:gd name="T50" fmla="*/ 36 w 420"/>
                <a:gd name="T51" fmla="*/ 252 h 348"/>
                <a:gd name="T52" fmla="*/ 42 w 420"/>
                <a:gd name="T53" fmla="*/ 246 h 348"/>
                <a:gd name="T54" fmla="*/ 48 w 420"/>
                <a:gd name="T55" fmla="*/ 240 h 348"/>
                <a:gd name="T56" fmla="*/ 48 w 420"/>
                <a:gd name="T57" fmla="*/ 228 h 348"/>
                <a:gd name="T58" fmla="*/ 48 w 420"/>
                <a:gd name="T59" fmla="*/ 228 h 348"/>
                <a:gd name="T60" fmla="*/ 54 w 420"/>
                <a:gd name="T61" fmla="*/ 222 h 348"/>
                <a:gd name="T62" fmla="*/ 60 w 420"/>
                <a:gd name="T63" fmla="*/ 210 h 348"/>
                <a:gd name="T64" fmla="*/ 60 w 420"/>
                <a:gd name="T65" fmla="*/ 210 h 348"/>
                <a:gd name="T66" fmla="*/ 66 w 420"/>
                <a:gd name="T67" fmla="*/ 198 h 348"/>
                <a:gd name="T68" fmla="*/ 72 w 420"/>
                <a:gd name="T69" fmla="*/ 192 h 348"/>
                <a:gd name="T70" fmla="*/ 72 w 420"/>
                <a:gd name="T71" fmla="*/ 192 h 348"/>
                <a:gd name="T72" fmla="*/ 60 w 420"/>
                <a:gd name="T73" fmla="*/ 192 h 348"/>
                <a:gd name="T74" fmla="*/ 60 w 420"/>
                <a:gd name="T75" fmla="*/ 204 h 348"/>
                <a:gd name="T76" fmla="*/ 54 w 420"/>
                <a:gd name="T77" fmla="*/ 198 h 348"/>
                <a:gd name="T78" fmla="*/ 60 w 420"/>
                <a:gd name="T79" fmla="*/ 192 h 348"/>
                <a:gd name="T80" fmla="*/ 72 w 420"/>
                <a:gd name="T81" fmla="*/ 186 h 348"/>
                <a:gd name="T82" fmla="*/ 78 w 420"/>
                <a:gd name="T83" fmla="*/ 180 h 348"/>
                <a:gd name="T84" fmla="*/ 84 w 420"/>
                <a:gd name="T85" fmla="*/ 174 h 348"/>
                <a:gd name="T86" fmla="*/ 90 w 420"/>
                <a:gd name="T87" fmla="*/ 162 h 348"/>
                <a:gd name="T88" fmla="*/ 102 w 420"/>
                <a:gd name="T89" fmla="*/ 156 h 348"/>
                <a:gd name="T90" fmla="*/ 108 w 420"/>
                <a:gd name="T91" fmla="*/ 150 h 348"/>
                <a:gd name="T92" fmla="*/ 114 w 420"/>
                <a:gd name="T93" fmla="*/ 138 h 348"/>
                <a:gd name="T94" fmla="*/ 114 w 420"/>
                <a:gd name="T95" fmla="*/ 126 h 348"/>
                <a:gd name="T96" fmla="*/ 114 w 420"/>
                <a:gd name="T97" fmla="*/ 114 h 348"/>
                <a:gd name="T98" fmla="*/ 120 w 420"/>
                <a:gd name="T99" fmla="*/ 102 h 348"/>
                <a:gd name="T100" fmla="*/ 126 w 420"/>
                <a:gd name="T101" fmla="*/ 96 h 348"/>
                <a:gd name="T102" fmla="*/ 132 w 420"/>
                <a:gd name="T103" fmla="*/ 84 h 348"/>
                <a:gd name="T104" fmla="*/ 132 w 420"/>
                <a:gd name="T105" fmla="*/ 72 h 348"/>
                <a:gd name="T106" fmla="*/ 144 w 420"/>
                <a:gd name="T107" fmla="*/ 66 h 348"/>
                <a:gd name="T108" fmla="*/ 156 w 420"/>
                <a:gd name="T109" fmla="*/ 60 h 348"/>
                <a:gd name="T110" fmla="*/ 174 w 420"/>
                <a:gd name="T111" fmla="*/ 54 h 348"/>
                <a:gd name="T112" fmla="*/ 180 w 420"/>
                <a:gd name="T113" fmla="*/ 48 h 348"/>
                <a:gd name="T114" fmla="*/ 180 w 420"/>
                <a:gd name="T115" fmla="*/ 30 h 348"/>
                <a:gd name="T116" fmla="*/ 186 w 420"/>
                <a:gd name="T117" fmla="*/ 24 h 348"/>
                <a:gd name="T118" fmla="*/ 192 w 420"/>
                <a:gd name="T119" fmla="*/ 18 h 348"/>
                <a:gd name="T120" fmla="*/ 192 w 420"/>
                <a:gd name="T121" fmla="*/ 18 h 348"/>
                <a:gd name="T122" fmla="*/ 192 w 420"/>
                <a:gd name="T123" fmla="*/ 6 h 348"/>
                <a:gd name="T124" fmla="*/ 198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348"/>
                <a:gd name="T191" fmla="*/ 420 w 420"/>
                <a:gd name="T192" fmla="*/ 348 h 3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rgbClr val="FF6C32"/>
                </a:solidFill>
              </a:endParaRPr>
            </a:p>
          </p:txBody>
        </p:sp>
        <p:sp>
          <p:nvSpPr>
            <p:cNvPr id="97" name="Freeform 9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93" y="795"/>
              <a:ext cx="872" cy="770"/>
            </a:xfrm>
            <a:custGeom>
              <a:avLst/>
              <a:gdLst>
                <a:gd name="T0" fmla="*/ 18 w 1026"/>
                <a:gd name="T1" fmla="*/ 408 h 906"/>
                <a:gd name="T2" fmla="*/ 48 w 1026"/>
                <a:gd name="T3" fmla="*/ 384 h 906"/>
                <a:gd name="T4" fmla="*/ 78 w 1026"/>
                <a:gd name="T5" fmla="*/ 372 h 906"/>
                <a:gd name="T6" fmla="*/ 114 w 1026"/>
                <a:gd name="T7" fmla="*/ 372 h 906"/>
                <a:gd name="T8" fmla="*/ 156 w 1026"/>
                <a:gd name="T9" fmla="*/ 360 h 906"/>
                <a:gd name="T10" fmla="*/ 180 w 1026"/>
                <a:gd name="T11" fmla="*/ 342 h 906"/>
                <a:gd name="T12" fmla="*/ 198 w 1026"/>
                <a:gd name="T13" fmla="*/ 318 h 906"/>
                <a:gd name="T14" fmla="*/ 240 w 1026"/>
                <a:gd name="T15" fmla="*/ 312 h 906"/>
                <a:gd name="T16" fmla="*/ 240 w 1026"/>
                <a:gd name="T17" fmla="*/ 294 h 906"/>
                <a:gd name="T18" fmla="*/ 270 w 1026"/>
                <a:gd name="T19" fmla="*/ 270 h 906"/>
                <a:gd name="T20" fmla="*/ 282 w 1026"/>
                <a:gd name="T21" fmla="*/ 252 h 906"/>
                <a:gd name="T22" fmla="*/ 330 w 1026"/>
                <a:gd name="T23" fmla="*/ 246 h 906"/>
                <a:gd name="T24" fmla="*/ 360 w 1026"/>
                <a:gd name="T25" fmla="*/ 252 h 906"/>
                <a:gd name="T26" fmla="*/ 378 w 1026"/>
                <a:gd name="T27" fmla="*/ 234 h 906"/>
                <a:gd name="T28" fmla="*/ 348 w 1026"/>
                <a:gd name="T29" fmla="*/ 198 h 906"/>
                <a:gd name="T30" fmla="*/ 348 w 1026"/>
                <a:gd name="T31" fmla="*/ 168 h 906"/>
                <a:gd name="T32" fmla="*/ 342 w 1026"/>
                <a:gd name="T33" fmla="*/ 126 h 906"/>
                <a:gd name="T34" fmla="*/ 324 w 1026"/>
                <a:gd name="T35" fmla="*/ 102 h 906"/>
                <a:gd name="T36" fmla="*/ 354 w 1026"/>
                <a:gd name="T37" fmla="*/ 96 h 906"/>
                <a:gd name="T38" fmla="*/ 378 w 1026"/>
                <a:gd name="T39" fmla="*/ 72 h 906"/>
                <a:gd name="T40" fmla="*/ 402 w 1026"/>
                <a:gd name="T41" fmla="*/ 66 h 906"/>
                <a:gd name="T42" fmla="*/ 432 w 1026"/>
                <a:gd name="T43" fmla="*/ 66 h 906"/>
                <a:gd name="T44" fmla="*/ 456 w 1026"/>
                <a:gd name="T45" fmla="*/ 42 h 906"/>
                <a:gd name="T46" fmla="*/ 492 w 1026"/>
                <a:gd name="T47" fmla="*/ 30 h 906"/>
                <a:gd name="T48" fmla="*/ 534 w 1026"/>
                <a:gd name="T49" fmla="*/ 30 h 906"/>
                <a:gd name="T50" fmla="*/ 564 w 1026"/>
                <a:gd name="T51" fmla="*/ 24 h 906"/>
                <a:gd name="T52" fmla="*/ 600 w 1026"/>
                <a:gd name="T53" fmla="*/ 18 h 906"/>
                <a:gd name="T54" fmla="*/ 636 w 1026"/>
                <a:gd name="T55" fmla="*/ 12 h 906"/>
                <a:gd name="T56" fmla="*/ 678 w 1026"/>
                <a:gd name="T57" fmla="*/ 18 h 906"/>
                <a:gd name="T58" fmla="*/ 708 w 1026"/>
                <a:gd name="T59" fmla="*/ 18 h 906"/>
                <a:gd name="T60" fmla="*/ 744 w 1026"/>
                <a:gd name="T61" fmla="*/ 6 h 906"/>
                <a:gd name="T62" fmla="*/ 762 w 1026"/>
                <a:gd name="T63" fmla="*/ 6 h 906"/>
                <a:gd name="T64" fmla="*/ 786 w 1026"/>
                <a:gd name="T65" fmla="*/ 12 h 906"/>
                <a:gd name="T66" fmla="*/ 798 w 1026"/>
                <a:gd name="T67" fmla="*/ 6 h 906"/>
                <a:gd name="T68" fmla="*/ 822 w 1026"/>
                <a:gd name="T69" fmla="*/ 12 h 906"/>
                <a:gd name="T70" fmla="*/ 852 w 1026"/>
                <a:gd name="T71" fmla="*/ 18 h 906"/>
                <a:gd name="T72" fmla="*/ 834 w 1026"/>
                <a:gd name="T73" fmla="*/ 30 h 906"/>
                <a:gd name="T74" fmla="*/ 846 w 1026"/>
                <a:gd name="T75" fmla="*/ 48 h 906"/>
                <a:gd name="T76" fmla="*/ 846 w 1026"/>
                <a:gd name="T77" fmla="*/ 78 h 906"/>
                <a:gd name="T78" fmla="*/ 846 w 1026"/>
                <a:gd name="T79" fmla="*/ 102 h 906"/>
                <a:gd name="T80" fmla="*/ 834 w 1026"/>
                <a:gd name="T81" fmla="*/ 132 h 906"/>
                <a:gd name="T82" fmla="*/ 804 w 1026"/>
                <a:gd name="T83" fmla="*/ 156 h 906"/>
                <a:gd name="T84" fmla="*/ 816 w 1026"/>
                <a:gd name="T85" fmla="*/ 198 h 906"/>
                <a:gd name="T86" fmla="*/ 882 w 1026"/>
                <a:gd name="T87" fmla="*/ 252 h 906"/>
                <a:gd name="T88" fmla="*/ 900 w 1026"/>
                <a:gd name="T89" fmla="*/ 342 h 906"/>
                <a:gd name="T90" fmla="*/ 918 w 1026"/>
                <a:gd name="T91" fmla="*/ 408 h 906"/>
                <a:gd name="T92" fmla="*/ 918 w 1026"/>
                <a:gd name="T93" fmla="*/ 450 h 906"/>
                <a:gd name="T94" fmla="*/ 918 w 1026"/>
                <a:gd name="T95" fmla="*/ 492 h 906"/>
                <a:gd name="T96" fmla="*/ 918 w 1026"/>
                <a:gd name="T97" fmla="*/ 528 h 906"/>
                <a:gd name="T98" fmla="*/ 918 w 1026"/>
                <a:gd name="T99" fmla="*/ 570 h 906"/>
                <a:gd name="T100" fmla="*/ 954 w 1026"/>
                <a:gd name="T101" fmla="*/ 624 h 906"/>
                <a:gd name="T102" fmla="*/ 1008 w 1026"/>
                <a:gd name="T103" fmla="*/ 642 h 906"/>
                <a:gd name="T104" fmla="*/ 786 w 1026"/>
                <a:gd name="T105" fmla="*/ 822 h 906"/>
                <a:gd name="T106" fmla="*/ 594 w 1026"/>
                <a:gd name="T107" fmla="*/ 900 h 906"/>
                <a:gd name="T108" fmla="*/ 588 w 1026"/>
                <a:gd name="T109" fmla="*/ 876 h 906"/>
                <a:gd name="T110" fmla="*/ 576 w 1026"/>
                <a:gd name="T111" fmla="*/ 852 h 906"/>
                <a:gd name="T112" fmla="*/ 546 w 1026"/>
                <a:gd name="T113" fmla="*/ 846 h 906"/>
                <a:gd name="T114" fmla="*/ 522 w 1026"/>
                <a:gd name="T115" fmla="*/ 840 h 906"/>
                <a:gd name="T116" fmla="*/ 498 w 1026"/>
                <a:gd name="T117" fmla="*/ 816 h 906"/>
                <a:gd name="T118" fmla="*/ 420 w 1026"/>
                <a:gd name="T119" fmla="*/ 750 h 906"/>
                <a:gd name="T120" fmla="*/ 162 w 1026"/>
                <a:gd name="T121" fmla="*/ 588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6"/>
                <a:gd name="T184" fmla="*/ 0 h 906"/>
                <a:gd name="T185" fmla="*/ 1026 w 1026"/>
                <a:gd name="T186" fmla="*/ 906 h 90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1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065" y="1372"/>
              <a:ext cx="668" cy="499"/>
            </a:xfrm>
            <a:custGeom>
              <a:avLst/>
              <a:gdLst>
                <a:gd name="T0" fmla="*/ 18 w 786"/>
                <a:gd name="T1" fmla="*/ 426 h 588"/>
                <a:gd name="T2" fmla="*/ 54 w 786"/>
                <a:gd name="T3" fmla="*/ 408 h 588"/>
                <a:gd name="T4" fmla="*/ 144 w 786"/>
                <a:gd name="T5" fmla="*/ 408 h 588"/>
                <a:gd name="T6" fmla="*/ 174 w 786"/>
                <a:gd name="T7" fmla="*/ 396 h 588"/>
                <a:gd name="T8" fmla="*/ 186 w 786"/>
                <a:gd name="T9" fmla="*/ 384 h 588"/>
                <a:gd name="T10" fmla="*/ 192 w 786"/>
                <a:gd name="T11" fmla="*/ 342 h 588"/>
                <a:gd name="T12" fmla="*/ 234 w 786"/>
                <a:gd name="T13" fmla="*/ 210 h 588"/>
                <a:gd name="T14" fmla="*/ 348 w 786"/>
                <a:gd name="T15" fmla="*/ 144 h 588"/>
                <a:gd name="T16" fmla="*/ 546 w 786"/>
                <a:gd name="T17" fmla="*/ 24 h 588"/>
                <a:gd name="T18" fmla="*/ 624 w 786"/>
                <a:gd name="T19" fmla="*/ 6 h 588"/>
                <a:gd name="T20" fmla="*/ 660 w 786"/>
                <a:gd name="T21" fmla="*/ 12 h 588"/>
                <a:gd name="T22" fmla="*/ 696 w 786"/>
                <a:gd name="T23" fmla="*/ 42 h 588"/>
                <a:gd name="T24" fmla="*/ 744 w 786"/>
                <a:gd name="T25" fmla="*/ 96 h 588"/>
                <a:gd name="T26" fmla="*/ 762 w 786"/>
                <a:gd name="T27" fmla="*/ 126 h 588"/>
                <a:gd name="T28" fmla="*/ 774 w 786"/>
                <a:gd name="T29" fmla="*/ 144 h 588"/>
                <a:gd name="T30" fmla="*/ 774 w 786"/>
                <a:gd name="T31" fmla="*/ 186 h 588"/>
                <a:gd name="T32" fmla="*/ 768 w 786"/>
                <a:gd name="T33" fmla="*/ 216 h 588"/>
                <a:gd name="T34" fmla="*/ 732 w 786"/>
                <a:gd name="T35" fmla="*/ 354 h 588"/>
                <a:gd name="T36" fmla="*/ 702 w 786"/>
                <a:gd name="T37" fmla="*/ 390 h 588"/>
                <a:gd name="T38" fmla="*/ 678 w 786"/>
                <a:gd name="T39" fmla="*/ 426 h 588"/>
                <a:gd name="T40" fmla="*/ 672 w 786"/>
                <a:gd name="T41" fmla="*/ 444 h 588"/>
                <a:gd name="T42" fmla="*/ 666 w 786"/>
                <a:gd name="T43" fmla="*/ 486 h 588"/>
                <a:gd name="T44" fmla="*/ 648 w 786"/>
                <a:gd name="T45" fmla="*/ 492 h 588"/>
                <a:gd name="T46" fmla="*/ 642 w 786"/>
                <a:gd name="T47" fmla="*/ 498 h 588"/>
                <a:gd name="T48" fmla="*/ 642 w 786"/>
                <a:gd name="T49" fmla="*/ 498 h 588"/>
                <a:gd name="T50" fmla="*/ 630 w 786"/>
                <a:gd name="T51" fmla="*/ 498 h 588"/>
                <a:gd name="T52" fmla="*/ 618 w 786"/>
                <a:gd name="T53" fmla="*/ 510 h 588"/>
                <a:gd name="T54" fmla="*/ 618 w 786"/>
                <a:gd name="T55" fmla="*/ 510 h 588"/>
                <a:gd name="T56" fmla="*/ 600 w 786"/>
                <a:gd name="T57" fmla="*/ 516 h 588"/>
                <a:gd name="T58" fmla="*/ 588 w 786"/>
                <a:gd name="T59" fmla="*/ 516 h 588"/>
                <a:gd name="T60" fmla="*/ 570 w 786"/>
                <a:gd name="T61" fmla="*/ 504 h 588"/>
                <a:gd name="T62" fmla="*/ 540 w 786"/>
                <a:gd name="T63" fmla="*/ 504 h 588"/>
                <a:gd name="T64" fmla="*/ 492 w 786"/>
                <a:gd name="T65" fmla="*/ 510 h 588"/>
                <a:gd name="T66" fmla="*/ 474 w 786"/>
                <a:gd name="T67" fmla="*/ 534 h 588"/>
                <a:gd name="T68" fmla="*/ 444 w 786"/>
                <a:gd name="T69" fmla="*/ 528 h 588"/>
                <a:gd name="T70" fmla="*/ 420 w 786"/>
                <a:gd name="T71" fmla="*/ 522 h 588"/>
                <a:gd name="T72" fmla="*/ 402 w 786"/>
                <a:gd name="T73" fmla="*/ 510 h 588"/>
                <a:gd name="T74" fmla="*/ 372 w 786"/>
                <a:gd name="T75" fmla="*/ 510 h 588"/>
                <a:gd name="T76" fmla="*/ 342 w 786"/>
                <a:gd name="T77" fmla="*/ 522 h 588"/>
                <a:gd name="T78" fmla="*/ 312 w 786"/>
                <a:gd name="T79" fmla="*/ 492 h 588"/>
                <a:gd name="T80" fmla="*/ 294 w 786"/>
                <a:gd name="T81" fmla="*/ 486 h 588"/>
                <a:gd name="T82" fmla="*/ 252 w 786"/>
                <a:gd name="T83" fmla="*/ 486 h 588"/>
                <a:gd name="T84" fmla="*/ 234 w 786"/>
                <a:gd name="T85" fmla="*/ 480 h 588"/>
                <a:gd name="T86" fmla="*/ 198 w 786"/>
                <a:gd name="T87" fmla="*/ 522 h 588"/>
                <a:gd name="T88" fmla="*/ 174 w 786"/>
                <a:gd name="T89" fmla="*/ 546 h 588"/>
                <a:gd name="T90" fmla="*/ 174 w 786"/>
                <a:gd name="T91" fmla="*/ 576 h 588"/>
                <a:gd name="T92" fmla="*/ 162 w 786"/>
                <a:gd name="T93" fmla="*/ 576 h 588"/>
                <a:gd name="T94" fmla="*/ 150 w 786"/>
                <a:gd name="T95" fmla="*/ 564 h 588"/>
                <a:gd name="T96" fmla="*/ 132 w 786"/>
                <a:gd name="T97" fmla="*/ 552 h 588"/>
                <a:gd name="T98" fmla="*/ 114 w 786"/>
                <a:gd name="T99" fmla="*/ 558 h 588"/>
                <a:gd name="T100" fmla="*/ 114 w 786"/>
                <a:gd name="T101" fmla="*/ 570 h 588"/>
                <a:gd name="T102" fmla="*/ 96 w 786"/>
                <a:gd name="T103" fmla="*/ 558 h 588"/>
                <a:gd name="T104" fmla="*/ 102 w 786"/>
                <a:gd name="T105" fmla="*/ 540 h 588"/>
                <a:gd name="T106" fmla="*/ 84 w 786"/>
                <a:gd name="T107" fmla="*/ 540 h 588"/>
                <a:gd name="T108" fmla="*/ 42 w 786"/>
                <a:gd name="T109" fmla="*/ 504 h 588"/>
                <a:gd name="T110" fmla="*/ 48 w 786"/>
                <a:gd name="T111" fmla="*/ 498 h 588"/>
                <a:gd name="T112" fmla="*/ 30 w 786"/>
                <a:gd name="T113" fmla="*/ 492 h 588"/>
                <a:gd name="T114" fmla="*/ 18 w 786"/>
                <a:gd name="T115" fmla="*/ 480 h 588"/>
                <a:gd name="T116" fmla="*/ 12 w 786"/>
                <a:gd name="T117" fmla="*/ 462 h 588"/>
                <a:gd name="T118" fmla="*/ 0 w 786"/>
                <a:gd name="T119" fmla="*/ 444 h 588"/>
                <a:gd name="T120" fmla="*/ 6 w 786"/>
                <a:gd name="T121" fmla="*/ 420 h 5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588"/>
                <a:gd name="T185" fmla="*/ 786 w 786"/>
                <a:gd name="T186" fmla="*/ 588 h 5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588">
                  <a:moveTo>
                    <a:pt x="6" y="420"/>
                  </a:moveTo>
                  <a:lnTo>
                    <a:pt x="12" y="426"/>
                  </a:lnTo>
                  <a:lnTo>
                    <a:pt x="18" y="420"/>
                  </a:lnTo>
                  <a:lnTo>
                    <a:pt x="18" y="426"/>
                  </a:lnTo>
                  <a:lnTo>
                    <a:pt x="24" y="426"/>
                  </a:lnTo>
                  <a:lnTo>
                    <a:pt x="30" y="426"/>
                  </a:lnTo>
                  <a:lnTo>
                    <a:pt x="42" y="426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84" y="408"/>
                  </a:lnTo>
                  <a:lnTo>
                    <a:pt x="120" y="402"/>
                  </a:lnTo>
                  <a:lnTo>
                    <a:pt x="144" y="408"/>
                  </a:lnTo>
                  <a:lnTo>
                    <a:pt x="168" y="408"/>
                  </a:lnTo>
                  <a:lnTo>
                    <a:pt x="168" y="402"/>
                  </a:lnTo>
                  <a:lnTo>
                    <a:pt x="168" y="396"/>
                  </a:lnTo>
                  <a:lnTo>
                    <a:pt x="174" y="396"/>
                  </a:lnTo>
                  <a:lnTo>
                    <a:pt x="174" y="390"/>
                  </a:lnTo>
                  <a:lnTo>
                    <a:pt x="180" y="390"/>
                  </a:lnTo>
                  <a:lnTo>
                    <a:pt x="186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92" y="372"/>
                  </a:lnTo>
                  <a:lnTo>
                    <a:pt x="192" y="354"/>
                  </a:lnTo>
                  <a:lnTo>
                    <a:pt x="192" y="342"/>
                  </a:lnTo>
                  <a:lnTo>
                    <a:pt x="192" y="330"/>
                  </a:lnTo>
                  <a:lnTo>
                    <a:pt x="204" y="324"/>
                  </a:lnTo>
                  <a:lnTo>
                    <a:pt x="204" y="216"/>
                  </a:lnTo>
                  <a:lnTo>
                    <a:pt x="234" y="210"/>
                  </a:lnTo>
                  <a:lnTo>
                    <a:pt x="282" y="204"/>
                  </a:lnTo>
                  <a:lnTo>
                    <a:pt x="312" y="174"/>
                  </a:lnTo>
                  <a:lnTo>
                    <a:pt x="330" y="156"/>
                  </a:lnTo>
                  <a:lnTo>
                    <a:pt x="348" y="144"/>
                  </a:lnTo>
                  <a:lnTo>
                    <a:pt x="360" y="132"/>
                  </a:lnTo>
                  <a:lnTo>
                    <a:pt x="420" y="96"/>
                  </a:lnTo>
                  <a:lnTo>
                    <a:pt x="468" y="66"/>
                  </a:lnTo>
                  <a:lnTo>
                    <a:pt x="546" y="24"/>
                  </a:lnTo>
                  <a:lnTo>
                    <a:pt x="588" y="0"/>
                  </a:lnTo>
                  <a:lnTo>
                    <a:pt x="594" y="0"/>
                  </a:lnTo>
                  <a:lnTo>
                    <a:pt x="606" y="6"/>
                  </a:lnTo>
                  <a:lnTo>
                    <a:pt x="624" y="6"/>
                  </a:lnTo>
                  <a:lnTo>
                    <a:pt x="630" y="6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0" y="18"/>
                  </a:lnTo>
                  <a:lnTo>
                    <a:pt x="666" y="18"/>
                  </a:lnTo>
                  <a:lnTo>
                    <a:pt x="672" y="24"/>
                  </a:lnTo>
                  <a:lnTo>
                    <a:pt x="696" y="42"/>
                  </a:lnTo>
                  <a:lnTo>
                    <a:pt x="738" y="24"/>
                  </a:lnTo>
                  <a:lnTo>
                    <a:pt x="744" y="54"/>
                  </a:lnTo>
                  <a:lnTo>
                    <a:pt x="744" y="72"/>
                  </a:lnTo>
                  <a:lnTo>
                    <a:pt x="744" y="96"/>
                  </a:lnTo>
                  <a:lnTo>
                    <a:pt x="744" y="102"/>
                  </a:lnTo>
                  <a:lnTo>
                    <a:pt x="750" y="102"/>
                  </a:lnTo>
                  <a:lnTo>
                    <a:pt x="768" y="126"/>
                  </a:lnTo>
                  <a:lnTo>
                    <a:pt x="762" y="126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80" y="150"/>
                  </a:lnTo>
                  <a:lnTo>
                    <a:pt x="786" y="156"/>
                  </a:lnTo>
                  <a:lnTo>
                    <a:pt x="774" y="174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68" y="210"/>
                  </a:lnTo>
                  <a:lnTo>
                    <a:pt x="768" y="216"/>
                  </a:lnTo>
                  <a:lnTo>
                    <a:pt x="768" y="222"/>
                  </a:lnTo>
                  <a:lnTo>
                    <a:pt x="768" y="234"/>
                  </a:lnTo>
                  <a:lnTo>
                    <a:pt x="762" y="330"/>
                  </a:lnTo>
                  <a:lnTo>
                    <a:pt x="732" y="354"/>
                  </a:lnTo>
                  <a:lnTo>
                    <a:pt x="726" y="366"/>
                  </a:lnTo>
                  <a:lnTo>
                    <a:pt x="720" y="372"/>
                  </a:lnTo>
                  <a:lnTo>
                    <a:pt x="708" y="384"/>
                  </a:lnTo>
                  <a:lnTo>
                    <a:pt x="702" y="390"/>
                  </a:lnTo>
                  <a:lnTo>
                    <a:pt x="696" y="396"/>
                  </a:lnTo>
                  <a:lnTo>
                    <a:pt x="684" y="414"/>
                  </a:lnTo>
                  <a:lnTo>
                    <a:pt x="678" y="420"/>
                  </a:lnTo>
                  <a:lnTo>
                    <a:pt x="678" y="426"/>
                  </a:lnTo>
                  <a:lnTo>
                    <a:pt x="678" y="432"/>
                  </a:lnTo>
                  <a:lnTo>
                    <a:pt x="678" y="438"/>
                  </a:lnTo>
                  <a:lnTo>
                    <a:pt x="672" y="438"/>
                  </a:lnTo>
                  <a:lnTo>
                    <a:pt x="672" y="444"/>
                  </a:lnTo>
                  <a:lnTo>
                    <a:pt x="666" y="444"/>
                  </a:lnTo>
                  <a:lnTo>
                    <a:pt x="660" y="450"/>
                  </a:lnTo>
                  <a:lnTo>
                    <a:pt x="660" y="456"/>
                  </a:lnTo>
                  <a:lnTo>
                    <a:pt x="666" y="486"/>
                  </a:lnTo>
                  <a:lnTo>
                    <a:pt x="660" y="486"/>
                  </a:lnTo>
                  <a:lnTo>
                    <a:pt x="654" y="486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0" y="498"/>
                  </a:lnTo>
                  <a:lnTo>
                    <a:pt x="630" y="504"/>
                  </a:lnTo>
                  <a:lnTo>
                    <a:pt x="624" y="504"/>
                  </a:lnTo>
                  <a:lnTo>
                    <a:pt x="624" y="510"/>
                  </a:lnTo>
                  <a:lnTo>
                    <a:pt x="618" y="510"/>
                  </a:lnTo>
                  <a:lnTo>
                    <a:pt x="618" y="504"/>
                  </a:lnTo>
                  <a:lnTo>
                    <a:pt x="618" y="510"/>
                  </a:lnTo>
                  <a:lnTo>
                    <a:pt x="612" y="510"/>
                  </a:lnTo>
                  <a:lnTo>
                    <a:pt x="618" y="510"/>
                  </a:lnTo>
                  <a:lnTo>
                    <a:pt x="618" y="516"/>
                  </a:lnTo>
                  <a:lnTo>
                    <a:pt x="612" y="516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70" y="510"/>
                  </a:lnTo>
                  <a:lnTo>
                    <a:pt x="570" y="504"/>
                  </a:lnTo>
                  <a:lnTo>
                    <a:pt x="564" y="504"/>
                  </a:lnTo>
                  <a:lnTo>
                    <a:pt x="558" y="504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22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2" y="510"/>
                  </a:lnTo>
                  <a:lnTo>
                    <a:pt x="486" y="516"/>
                  </a:lnTo>
                  <a:lnTo>
                    <a:pt x="480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62" y="528"/>
                  </a:lnTo>
                  <a:lnTo>
                    <a:pt x="456" y="528"/>
                  </a:lnTo>
                  <a:lnTo>
                    <a:pt x="450" y="528"/>
                  </a:lnTo>
                  <a:lnTo>
                    <a:pt x="444" y="528"/>
                  </a:lnTo>
                  <a:lnTo>
                    <a:pt x="438" y="528"/>
                  </a:lnTo>
                  <a:lnTo>
                    <a:pt x="432" y="528"/>
                  </a:lnTo>
                  <a:lnTo>
                    <a:pt x="426" y="528"/>
                  </a:lnTo>
                  <a:lnTo>
                    <a:pt x="420" y="522"/>
                  </a:lnTo>
                  <a:lnTo>
                    <a:pt x="414" y="516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402" y="510"/>
                  </a:lnTo>
                  <a:lnTo>
                    <a:pt x="396" y="510"/>
                  </a:lnTo>
                  <a:lnTo>
                    <a:pt x="390" y="504"/>
                  </a:lnTo>
                  <a:lnTo>
                    <a:pt x="378" y="504"/>
                  </a:lnTo>
                  <a:lnTo>
                    <a:pt x="372" y="510"/>
                  </a:lnTo>
                  <a:lnTo>
                    <a:pt x="360" y="516"/>
                  </a:lnTo>
                  <a:lnTo>
                    <a:pt x="348" y="516"/>
                  </a:lnTo>
                  <a:lnTo>
                    <a:pt x="348" y="522"/>
                  </a:lnTo>
                  <a:lnTo>
                    <a:pt x="342" y="522"/>
                  </a:lnTo>
                  <a:lnTo>
                    <a:pt x="336" y="522"/>
                  </a:lnTo>
                  <a:lnTo>
                    <a:pt x="330" y="516"/>
                  </a:lnTo>
                  <a:lnTo>
                    <a:pt x="324" y="504"/>
                  </a:lnTo>
                  <a:lnTo>
                    <a:pt x="312" y="492"/>
                  </a:lnTo>
                  <a:lnTo>
                    <a:pt x="306" y="486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294" y="486"/>
                  </a:lnTo>
                  <a:lnTo>
                    <a:pt x="276" y="480"/>
                  </a:lnTo>
                  <a:lnTo>
                    <a:pt x="264" y="480"/>
                  </a:lnTo>
                  <a:lnTo>
                    <a:pt x="258" y="480"/>
                  </a:lnTo>
                  <a:lnTo>
                    <a:pt x="252" y="486"/>
                  </a:lnTo>
                  <a:lnTo>
                    <a:pt x="246" y="486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34" y="480"/>
                  </a:lnTo>
                  <a:lnTo>
                    <a:pt x="216" y="486"/>
                  </a:lnTo>
                  <a:lnTo>
                    <a:pt x="198" y="498"/>
                  </a:lnTo>
                  <a:lnTo>
                    <a:pt x="198" y="516"/>
                  </a:lnTo>
                  <a:lnTo>
                    <a:pt x="198" y="522"/>
                  </a:lnTo>
                  <a:lnTo>
                    <a:pt x="192" y="528"/>
                  </a:lnTo>
                  <a:lnTo>
                    <a:pt x="186" y="534"/>
                  </a:lnTo>
                  <a:lnTo>
                    <a:pt x="180" y="540"/>
                  </a:lnTo>
                  <a:lnTo>
                    <a:pt x="174" y="546"/>
                  </a:lnTo>
                  <a:lnTo>
                    <a:pt x="174" y="558"/>
                  </a:lnTo>
                  <a:lnTo>
                    <a:pt x="174" y="564"/>
                  </a:lnTo>
                  <a:lnTo>
                    <a:pt x="174" y="570"/>
                  </a:lnTo>
                  <a:lnTo>
                    <a:pt x="174" y="576"/>
                  </a:lnTo>
                  <a:lnTo>
                    <a:pt x="174" y="582"/>
                  </a:lnTo>
                  <a:lnTo>
                    <a:pt x="168" y="588"/>
                  </a:lnTo>
                  <a:lnTo>
                    <a:pt x="168" y="582"/>
                  </a:lnTo>
                  <a:lnTo>
                    <a:pt x="162" y="576"/>
                  </a:lnTo>
                  <a:lnTo>
                    <a:pt x="156" y="576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2" y="552"/>
                  </a:lnTo>
                  <a:lnTo>
                    <a:pt x="126" y="552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64"/>
                  </a:lnTo>
                  <a:lnTo>
                    <a:pt x="114" y="564"/>
                  </a:lnTo>
                  <a:lnTo>
                    <a:pt x="114" y="570"/>
                  </a:lnTo>
                  <a:lnTo>
                    <a:pt x="114" y="576"/>
                  </a:lnTo>
                  <a:lnTo>
                    <a:pt x="108" y="576"/>
                  </a:lnTo>
                  <a:lnTo>
                    <a:pt x="114" y="576"/>
                  </a:lnTo>
                  <a:lnTo>
                    <a:pt x="96" y="558"/>
                  </a:lnTo>
                  <a:lnTo>
                    <a:pt x="96" y="552"/>
                  </a:lnTo>
                  <a:lnTo>
                    <a:pt x="102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0" y="534"/>
                  </a:lnTo>
                  <a:lnTo>
                    <a:pt x="84" y="540"/>
                  </a:lnTo>
                  <a:lnTo>
                    <a:pt x="72" y="540"/>
                  </a:lnTo>
                  <a:lnTo>
                    <a:pt x="42" y="522"/>
                  </a:lnTo>
                  <a:lnTo>
                    <a:pt x="42" y="516"/>
                  </a:lnTo>
                  <a:lnTo>
                    <a:pt x="42" y="504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2" y="498"/>
                  </a:lnTo>
                  <a:lnTo>
                    <a:pt x="42" y="492"/>
                  </a:lnTo>
                  <a:lnTo>
                    <a:pt x="36" y="492"/>
                  </a:lnTo>
                  <a:lnTo>
                    <a:pt x="30" y="492"/>
                  </a:lnTo>
                  <a:lnTo>
                    <a:pt x="30" y="486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6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0" y="438"/>
                  </a:lnTo>
                  <a:lnTo>
                    <a:pt x="0" y="432"/>
                  </a:lnTo>
                  <a:lnTo>
                    <a:pt x="6" y="426"/>
                  </a:lnTo>
                  <a:lnTo>
                    <a:pt x="6" y="42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1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453" y="964"/>
              <a:ext cx="668" cy="576"/>
            </a:xfrm>
            <a:custGeom>
              <a:avLst/>
              <a:gdLst>
                <a:gd name="T0" fmla="*/ 30 w 786"/>
                <a:gd name="T1" fmla="*/ 132 h 678"/>
                <a:gd name="T2" fmla="*/ 48 w 786"/>
                <a:gd name="T3" fmla="*/ 114 h 678"/>
                <a:gd name="T4" fmla="*/ 42 w 786"/>
                <a:gd name="T5" fmla="*/ 84 h 678"/>
                <a:gd name="T6" fmla="*/ 60 w 786"/>
                <a:gd name="T7" fmla="*/ 66 h 678"/>
                <a:gd name="T8" fmla="*/ 78 w 786"/>
                <a:gd name="T9" fmla="*/ 54 h 678"/>
                <a:gd name="T10" fmla="*/ 108 w 786"/>
                <a:gd name="T11" fmla="*/ 42 h 678"/>
                <a:gd name="T12" fmla="*/ 108 w 786"/>
                <a:gd name="T13" fmla="*/ 18 h 678"/>
                <a:gd name="T14" fmla="*/ 120 w 786"/>
                <a:gd name="T15" fmla="*/ 6 h 678"/>
                <a:gd name="T16" fmla="*/ 138 w 786"/>
                <a:gd name="T17" fmla="*/ 12 h 678"/>
                <a:gd name="T18" fmla="*/ 168 w 786"/>
                <a:gd name="T19" fmla="*/ 18 h 678"/>
                <a:gd name="T20" fmla="*/ 198 w 786"/>
                <a:gd name="T21" fmla="*/ 12 h 678"/>
                <a:gd name="T22" fmla="*/ 222 w 786"/>
                <a:gd name="T23" fmla="*/ 18 h 678"/>
                <a:gd name="T24" fmla="*/ 252 w 786"/>
                <a:gd name="T25" fmla="*/ 30 h 678"/>
                <a:gd name="T26" fmla="*/ 276 w 786"/>
                <a:gd name="T27" fmla="*/ 36 h 678"/>
                <a:gd name="T28" fmla="*/ 300 w 786"/>
                <a:gd name="T29" fmla="*/ 48 h 678"/>
                <a:gd name="T30" fmla="*/ 306 w 786"/>
                <a:gd name="T31" fmla="*/ 72 h 678"/>
                <a:gd name="T32" fmla="*/ 330 w 786"/>
                <a:gd name="T33" fmla="*/ 90 h 678"/>
                <a:gd name="T34" fmla="*/ 354 w 786"/>
                <a:gd name="T35" fmla="*/ 96 h 678"/>
                <a:gd name="T36" fmla="*/ 390 w 786"/>
                <a:gd name="T37" fmla="*/ 102 h 678"/>
                <a:gd name="T38" fmla="*/ 414 w 786"/>
                <a:gd name="T39" fmla="*/ 108 h 678"/>
                <a:gd name="T40" fmla="*/ 432 w 786"/>
                <a:gd name="T41" fmla="*/ 114 h 678"/>
                <a:gd name="T42" fmla="*/ 456 w 786"/>
                <a:gd name="T43" fmla="*/ 132 h 678"/>
                <a:gd name="T44" fmla="*/ 480 w 786"/>
                <a:gd name="T45" fmla="*/ 144 h 678"/>
                <a:gd name="T46" fmla="*/ 510 w 786"/>
                <a:gd name="T47" fmla="*/ 138 h 678"/>
                <a:gd name="T48" fmla="*/ 534 w 786"/>
                <a:gd name="T49" fmla="*/ 108 h 678"/>
                <a:gd name="T50" fmla="*/ 528 w 786"/>
                <a:gd name="T51" fmla="*/ 90 h 678"/>
                <a:gd name="T52" fmla="*/ 528 w 786"/>
                <a:gd name="T53" fmla="*/ 60 h 678"/>
                <a:gd name="T54" fmla="*/ 534 w 786"/>
                <a:gd name="T55" fmla="*/ 48 h 678"/>
                <a:gd name="T56" fmla="*/ 552 w 786"/>
                <a:gd name="T57" fmla="*/ 30 h 678"/>
                <a:gd name="T58" fmla="*/ 594 w 786"/>
                <a:gd name="T59" fmla="*/ 18 h 678"/>
                <a:gd name="T60" fmla="*/ 618 w 786"/>
                <a:gd name="T61" fmla="*/ 12 h 678"/>
                <a:gd name="T62" fmla="*/ 648 w 786"/>
                <a:gd name="T63" fmla="*/ 12 h 678"/>
                <a:gd name="T64" fmla="*/ 672 w 786"/>
                <a:gd name="T65" fmla="*/ 24 h 678"/>
                <a:gd name="T66" fmla="*/ 684 w 786"/>
                <a:gd name="T67" fmla="*/ 42 h 678"/>
                <a:gd name="T68" fmla="*/ 708 w 786"/>
                <a:gd name="T69" fmla="*/ 48 h 678"/>
                <a:gd name="T70" fmla="*/ 732 w 786"/>
                <a:gd name="T71" fmla="*/ 54 h 678"/>
                <a:gd name="T72" fmla="*/ 762 w 786"/>
                <a:gd name="T73" fmla="*/ 54 h 678"/>
                <a:gd name="T74" fmla="*/ 780 w 786"/>
                <a:gd name="T75" fmla="*/ 66 h 678"/>
                <a:gd name="T76" fmla="*/ 786 w 786"/>
                <a:gd name="T77" fmla="*/ 78 h 678"/>
                <a:gd name="T78" fmla="*/ 774 w 786"/>
                <a:gd name="T79" fmla="*/ 96 h 678"/>
                <a:gd name="T80" fmla="*/ 780 w 786"/>
                <a:gd name="T81" fmla="*/ 120 h 678"/>
                <a:gd name="T82" fmla="*/ 762 w 786"/>
                <a:gd name="T83" fmla="*/ 150 h 678"/>
                <a:gd name="T84" fmla="*/ 774 w 786"/>
                <a:gd name="T85" fmla="*/ 180 h 678"/>
                <a:gd name="T86" fmla="*/ 780 w 786"/>
                <a:gd name="T87" fmla="*/ 192 h 678"/>
                <a:gd name="T88" fmla="*/ 690 w 786"/>
                <a:gd name="T89" fmla="*/ 660 h 678"/>
                <a:gd name="T90" fmla="*/ 582 w 786"/>
                <a:gd name="T91" fmla="*/ 606 h 678"/>
                <a:gd name="T92" fmla="*/ 432 w 786"/>
                <a:gd name="T93" fmla="*/ 534 h 678"/>
                <a:gd name="T94" fmla="*/ 312 w 786"/>
                <a:gd name="T95" fmla="*/ 492 h 678"/>
                <a:gd name="T96" fmla="*/ 204 w 786"/>
                <a:gd name="T97" fmla="*/ 498 h 678"/>
                <a:gd name="T98" fmla="*/ 168 w 786"/>
                <a:gd name="T99" fmla="*/ 486 h 678"/>
                <a:gd name="T100" fmla="*/ 114 w 786"/>
                <a:gd name="T101" fmla="*/ 444 h 678"/>
                <a:gd name="T102" fmla="*/ 78 w 786"/>
                <a:gd name="T103" fmla="*/ 432 h 678"/>
                <a:gd name="T104" fmla="*/ 42 w 786"/>
                <a:gd name="T105" fmla="*/ 420 h 678"/>
                <a:gd name="T106" fmla="*/ 0 w 786"/>
                <a:gd name="T107" fmla="*/ 348 h 678"/>
                <a:gd name="T108" fmla="*/ 18 w 786"/>
                <a:gd name="T109" fmla="*/ 336 h 678"/>
                <a:gd name="T110" fmla="*/ 24 w 786"/>
                <a:gd name="T111" fmla="*/ 312 h 678"/>
                <a:gd name="T112" fmla="*/ 24 w 786"/>
                <a:gd name="T113" fmla="*/ 282 h 678"/>
                <a:gd name="T114" fmla="*/ 24 w 786"/>
                <a:gd name="T115" fmla="*/ 252 h 678"/>
                <a:gd name="T116" fmla="*/ 30 w 786"/>
                <a:gd name="T117" fmla="*/ 216 h 678"/>
                <a:gd name="T118" fmla="*/ 12 w 786"/>
                <a:gd name="T119" fmla="*/ 162 h 678"/>
                <a:gd name="T120" fmla="*/ 12 w 786"/>
                <a:gd name="T121" fmla="*/ 144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678"/>
                <a:gd name="T185" fmla="*/ 786 w 786"/>
                <a:gd name="T186" fmla="*/ 678 h 6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376" y="785"/>
              <a:ext cx="174" cy="301"/>
            </a:xfrm>
            <a:custGeom>
              <a:avLst/>
              <a:gdLst>
                <a:gd name="T0" fmla="*/ 66 w 204"/>
                <a:gd name="T1" fmla="*/ 18 h 354"/>
                <a:gd name="T2" fmla="*/ 84 w 204"/>
                <a:gd name="T3" fmla="*/ 6 h 354"/>
                <a:gd name="T4" fmla="*/ 108 w 204"/>
                <a:gd name="T5" fmla="*/ 0 h 354"/>
                <a:gd name="T6" fmla="*/ 114 w 204"/>
                <a:gd name="T7" fmla="*/ 6 h 354"/>
                <a:gd name="T8" fmla="*/ 114 w 204"/>
                <a:gd name="T9" fmla="*/ 6 h 354"/>
                <a:gd name="T10" fmla="*/ 132 w 204"/>
                <a:gd name="T11" fmla="*/ 12 h 354"/>
                <a:gd name="T12" fmla="*/ 138 w 204"/>
                <a:gd name="T13" fmla="*/ 24 h 354"/>
                <a:gd name="T14" fmla="*/ 150 w 204"/>
                <a:gd name="T15" fmla="*/ 30 h 354"/>
                <a:gd name="T16" fmla="*/ 168 w 204"/>
                <a:gd name="T17" fmla="*/ 18 h 354"/>
                <a:gd name="T18" fmla="*/ 180 w 204"/>
                <a:gd name="T19" fmla="*/ 24 h 354"/>
                <a:gd name="T20" fmla="*/ 168 w 204"/>
                <a:gd name="T21" fmla="*/ 42 h 354"/>
                <a:gd name="T22" fmla="*/ 150 w 204"/>
                <a:gd name="T23" fmla="*/ 48 h 354"/>
                <a:gd name="T24" fmla="*/ 144 w 204"/>
                <a:gd name="T25" fmla="*/ 66 h 354"/>
                <a:gd name="T26" fmla="*/ 162 w 204"/>
                <a:gd name="T27" fmla="*/ 78 h 354"/>
                <a:gd name="T28" fmla="*/ 174 w 204"/>
                <a:gd name="T29" fmla="*/ 90 h 354"/>
                <a:gd name="T30" fmla="*/ 174 w 204"/>
                <a:gd name="T31" fmla="*/ 108 h 354"/>
                <a:gd name="T32" fmla="*/ 168 w 204"/>
                <a:gd name="T33" fmla="*/ 126 h 354"/>
                <a:gd name="T34" fmla="*/ 150 w 204"/>
                <a:gd name="T35" fmla="*/ 138 h 354"/>
                <a:gd name="T36" fmla="*/ 138 w 204"/>
                <a:gd name="T37" fmla="*/ 144 h 354"/>
                <a:gd name="T38" fmla="*/ 126 w 204"/>
                <a:gd name="T39" fmla="*/ 156 h 354"/>
                <a:gd name="T40" fmla="*/ 132 w 204"/>
                <a:gd name="T41" fmla="*/ 174 h 354"/>
                <a:gd name="T42" fmla="*/ 138 w 204"/>
                <a:gd name="T43" fmla="*/ 180 h 354"/>
                <a:gd name="T44" fmla="*/ 156 w 204"/>
                <a:gd name="T45" fmla="*/ 180 h 354"/>
                <a:gd name="T46" fmla="*/ 162 w 204"/>
                <a:gd name="T47" fmla="*/ 186 h 354"/>
                <a:gd name="T48" fmla="*/ 168 w 204"/>
                <a:gd name="T49" fmla="*/ 192 h 354"/>
                <a:gd name="T50" fmla="*/ 180 w 204"/>
                <a:gd name="T51" fmla="*/ 198 h 354"/>
                <a:gd name="T52" fmla="*/ 180 w 204"/>
                <a:gd name="T53" fmla="*/ 210 h 354"/>
                <a:gd name="T54" fmla="*/ 186 w 204"/>
                <a:gd name="T55" fmla="*/ 204 h 354"/>
                <a:gd name="T56" fmla="*/ 198 w 204"/>
                <a:gd name="T57" fmla="*/ 216 h 354"/>
                <a:gd name="T58" fmla="*/ 198 w 204"/>
                <a:gd name="T59" fmla="*/ 240 h 354"/>
                <a:gd name="T60" fmla="*/ 192 w 204"/>
                <a:gd name="T61" fmla="*/ 252 h 354"/>
                <a:gd name="T62" fmla="*/ 168 w 204"/>
                <a:gd name="T63" fmla="*/ 264 h 354"/>
                <a:gd name="T64" fmla="*/ 156 w 204"/>
                <a:gd name="T65" fmla="*/ 276 h 354"/>
                <a:gd name="T66" fmla="*/ 138 w 204"/>
                <a:gd name="T67" fmla="*/ 282 h 354"/>
                <a:gd name="T68" fmla="*/ 132 w 204"/>
                <a:gd name="T69" fmla="*/ 306 h 354"/>
                <a:gd name="T70" fmla="*/ 132 w 204"/>
                <a:gd name="T71" fmla="*/ 330 h 354"/>
                <a:gd name="T72" fmla="*/ 120 w 204"/>
                <a:gd name="T73" fmla="*/ 342 h 354"/>
                <a:gd name="T74" fmla="*/ 102 w 204"/>
                <a:gd name="T75" fmla="*/ 354 h 354"/>
                <a:gd name="T76" fmla="*/ 78 w 204"/>
                <a:gd name="T77" fmla="*/ 276 h 354"/>
                <a:gd name="T78" fmla="*/ 42 w 204"/>
                <a:gd name="T79" fmla="*/ 234 h 354"/>
                <a:gd name="T80" fmla="*/ 18 w 204"/>
                <a:gd name="T81" fmla="*/ 210 h 354"/>
                <a:gd name="T82" fmla="*/ 6 w 204"/>
                <a:gd name="T83" fmla="*/ 192 h 354"/>
                <a:gd name="T84" fmla="*/ 0 w 204"/>
                <a:gd name="T85" fmla="*/ 168 h 354"/>
                <a:gd name="T86" fmla="*/ 12 w 204"/>
                <a:gd name="T87" fmla="*/ 156 h 354"/>
                <a:gd name="T88" fmla="*/ 30 w 204"/>
                <a:gd name="T89" fmla="*/ 138 h 354"/>
                <a:gd name="T90" fmla="*/ 36 w 204"/>
                <a:gd name="T91" fmla="*/ 120 h 354"/>
                <a:gd name="T92" fmla="*/ 48 w 204"/>
                <a:gd name="T93" fmla="*/ 108 h 354"/>
                <a:gd name="T94" fmla="*/ 42 w 204"/>
                <a:gd name="T95" fmla="*/ 96 h 354"/>
                <a:gd name="T96" fmla="*/ 36 w 204"/>
                <a:gd name="T97" fmla="*/ 78 h 354"/>
                <a:gd name="T98" fmla="*/ 42 w 204"/>
                <a:gd name="T99" fmla="*/ 60 h 354"/>
                <a:gd name="T100" fmla="*/ 42 w 204"/>
                <a:gd name="T101" fmla="*/ 48 h 354"/>
                <a:gd name="T102" fmla="*/ 36 w 204"/>
                <a:gd name="T103" fmla="*/ 42 h 354"/>
                <a:gd name="T104" fmla="*/ 48 w 204"/>
                <a:gd name="T105" fmla="*/ 30 h 354"/>
                <a:gd name="T106" fmla="*/ 54 w 204"/>
                <a:gd name="T107" fmla="*/ 24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4"/>
                <a:gd name="T163" fmla="*/ 0 h 354"/>
                <a:gd name="T164" fmla="*/ 204 w 204"/>
                <a:gd name="T165" fmla="*/ 354 h 3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1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316" y="1657"/>
              <a:ext cx="265" cy="189"/>
            </a:xfrm>
            <a:custGeom>
              <a:avLst/>
              <a:gdLst>
                <a:gd name="T0" fmla="*/ 54 w 312"/>
                <a:gd name="T1" fmla="*/ 30 h 222"/>
                <a:gd name="T2" fmla="*/ 66 w 312"/>
                <a:gd name="T3" fmla="*/ 12 h 222"/>
                <a:gd name="T4" fmla="*/ 78 w 312"/>
                <a:gd name="T5" fmla="*/ 12 h 222"/>
                <a:gd name="T6" fmla="*/ 102 w 312"/>
                <a:gd name="T7" fmla="*/ 12 h 222"/>
                <a:gd name="T8" fmla="*/ 108 w 312"/>
                <a:gd name="T9" fmla="*/ 6 h 222"/>
                <a:gd name="T10" fmla="*/ 120 w 312"/>
                <a:gd name="T11" fmla="*/ 6 h 222"/>
                <a:gd name="T12" fmla="*/ 126 w 312"/>
                <a:gd name="T13" fmla="*/ 0 h 222"/>
                <a:gd name="T14" fmla="*/ 144 w 312"/>
                <a:gd name="T15" fmla="*/ 6 h 222"/>
                <a:gd name="T16" fmla="*/ 168 w 312"/>
                <a:gd name="T17" fmla="*/ 6 h 222"/>
                <a:gd name="T18" fmla="*/ 180 w 312"/>
                <a:gd name="T19" fmla="*/ 18 h 222"/>
                <a:gd name="T20" fmla="*/ 192 w 312"/>
                <a:gd name="T21" fmla="*/ 30 h 222"/>
                <a:gd name="T22" fmla="*/ 210 w 312"/>
                <a:gd name="T23" fmla="*/ 42 h 222"/>
                <a:gd name="T24" fmla="*/ 222 w 312"/>
                <a:gd name="T25" fmla="*/ 60 h 222"/>
                <a:gd name="T26" fmla="*/ 228 w 312"/>
                <a:gd name="T27" fmla="*/ 66 h 222"/>
                <a:gd name="T28" fmla="*/ 246 w 312"/>
                <a:gd name="T29" fmla="*/ 84 h 222"/>
                <a:gd name="T30" fmla="*/ 258 w 312"/>
                <a:gd name="T31" fmla="*/ 96 h 222"/>
                <a:gd name="T32" fmla="*/ 270 w 312"/>
                <a:gd name="T33" fmla="*/ 108 h 222"/>
                <a:gd name="T34" fmla="*/ 270 w 312"/>
                <a:gd name="T35" fmla="*/ 120 h 222"/>
                <a:gd name="T36" fmla="*/ 276 w 312"/>
                <a:gd name="T37" fmla="*/ 138 h 222"/>
                <a:gd name="T38" fmla="*/ 276 w 312"/>
                <a:gd name="T39" fmla="*/ 156 h 222"/>
                <a:gd name="T40" fmla="*/ 294 w 312"/>
                <a:gd name="T41" fmla="*/ 168 h 222"/>
                <a:gd name="T42" fmla="*/ 306 w 312"/>
                <a:gd name="T43" fmla="*/ 180 h 222"/>
                <a:gd name="T44" fmla="*/ 306 w 312"/>
                <a:gd name="T45" fmla="*/ 198 h 222"/>
                <a:gd name="T46" fmla="*/ 306 w 312"/>
                <a:gd name="T47" fmla="*/ 216 h 222"/>
                <a:gd name="T48" fmla="*/ 282 w 312"/>
                <a:gd name="T49" fmla="*/ 216 h 222"/>
                <a:gd name="T50" fmla="*/ 264 w 312"/>
                <a:gd name="T51" fmla="*/ 222 h 222"/>
                <a:gd name="T52" fmla="*/ 246 w 312"/>
                <a:gd name="T53" fmla="*/ 216 h 222"/>
                <a:gd name="T54" fmla="*/ 228 w 312"/>
                <a:gd name="T55" fmla="*/ 210 h 222"/>
                <a:gd name="T56" fmla="*/ 216 w 312"/>
                <a:gd name="T57" fmla="*/ 204 h 222"/>
                <a:gd name="T58" fmla="*/ 138 w 312"/>
                <a:gd name="T59" fmla="*/ 204 h 222"/>
                <a:gd name="T60" fmla="*/ 108 w 312"/>
                <a:gd name="T61" fmla="*/ 210 h 222"/>
                <a:gd name="T62" fmla="*/ 78 w 312"/>
                <a:gd name="T63" fmla="*/ 210 h 222"/>
                <a:gd name="T64" fmla="*/ 54 w 312"/>
                <a:gd name="T65" fmla="*/ 216 h 222"/>
                <a:gd name="T66" fmla="*/ 48 w 312"/>
                <a:gd name="T67" fmla="*/ 210 h 222"/>
                <a:gd name="T68" fmla="*/ 60 w 312"/>
                <a:gd name="T69" fmla="*/ 204 h 222"/>
                <a:gd name="T70" fmla="*/ 42 w 312"/>
                <a:gd name="T71" fmla="*/ 210 h 222"/>
                <a:gd name="T72" fmla="*/ 42 w 312"/>
                <a:gd name="T73" fmla="*/ 198 h 222"/>
                <a:gd name="T74" fmla="*/ 60 w 312"/>
                <a:gd name="T75" fmla="*/ 180 h 222"/>
                <a:gd name="T76" fmla="*/ 96 w 312"/>
                <a:gd name="T77" fmla="*/ 168 h 222"/>
                <a:gd name="T78" fmla="*/ 120 w 312"/>
                <a:gd name="T79" fmla="*/ 168 h 222"/>
                <a:gd name="T80" fmla="*/ 126 w 312"/>
                <a:gd name="T81" fmla="*/ 162 h 222"/>
                <a:gd name="T82" fmla="*/ 144 w 312"/>
                <a:gd name="T83" fmla="*/ 168 h 222"/>
                <a:gd name="T84" fmla="*/ 162 w 312"/>
                <a:gd name="T85" fmla="*/ 174 h 222"/>
                <a:gd name="T86" fmla="*/ 180 w 312"/>
                <a:gd name="T87" fmla="*/ 168 h 222"/>
                <a:gd name="T88" fmla="*/ 174 w 312"/>
                <a:gd name="T89" fmla="*/ 156 h 222"/>
                <a:gd name="T90" fmla="*/ 156 w 312"/>
                <a:gd name="T91" fmla="*/ 156 h 222"/>
                <a:gd name="T92" fmla="*/ 138 w 312"/>
                <a:gd name="T93" fmla="*/ 150 h 222"/>
                <a:gd name="T94" fmla="*/ 120 w 312"/>
                <a:gd name="T95" fmla="*/ 150 h 222"/>
                <a:gd name="T96" fmla="*/ 108 w 312"/>
                <a:gd name="T97" fmla="*/ 150 h 222"/>
                <a:gd name="T98" fmla="*/ 48 w 312"/>
                <a:gd name="T99" fmla="*/ 156 h 222"/>
                <a:gd name="T100" fmla="*/ 48 w 312"/>
                <a:gd name="T101" fmla="*/ 144 h 222"/>
                <a:gd name="T102" fmla="*/ 42 w 312"/>
                <a:gd name="T103" fmla="*/ 138 h 222"/>
                <a:gd name="T104" fmla="*/ 36 w 312"/>
                <a:gd name="T105" fmla="*/ 132 h 222"/>
                <a:gd name="T106" fmla="*/ 30 w 312"/>
                <a:gd name="T107" fmla="*/ 114 h 222"/>
                <a:gd name="T108" fmla="*/ 18 w 312"/>
                <a:gd name="T109" fmla="*/ 102 h 222"/>
                <a:gd name="T110" fmla="*/ 6 w 312"/>
                <a:gd name="T111" fmla="*/ 96 h 222"/>
                <a:gd name="T112" fmla="*/ 30 w 312"/>
                <a:gd name="T113" fmla="*/ 84 h 222"/>
                <a:gd name="T114" fmla="*/ 48 w 312"/>
                <a:gd name="T115" fmla="*/ 60 h 222"/>
                <a:gd name="T116" fmla="*/ 54 w 312"/>
                <a:gd name="T117" fmla="*/ 36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12"/>
                <a:gd name="T178" fmla="*/ 0 h 222"/>
                <a:gd name="T179" fmla="*/ 312 w 312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12" h="222">
                  <a:moveTo>
                    <a:pt x="54" y="36"/>
                  </a:move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28" y="66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40" y="78"/>
                  </a:lnTo>
                  <a:lnTo>
                    <a:pt x="246" y="84"/>
                  </a:lnTo>
                  <a:lnTo>
                    <a:pt x="252" y="84"/>
                  </a:lnTo>
                  <a:lnTo>
                    <a:pt x="252" y="90"/>
                  </a:lnTo>
                  <a:lnTo>
                    <a:pt x="258" y="90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70" y="114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76" y="150"/>
                  </a:lnTo>
                  <a:lnTo>
                    <a:pt x="276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68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74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06" y="186"/>
                  </a:lnTo>
                  <a:lnTo>
                    <a:pt x="312" y="186"/>
                  </a:lnTo>
                  <a:lnTo>
                    <a:pt x="306" y="192"/>
                  </a:lnTo>
                  <a:lnTo>
                    <a:pt x="306" y="198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0"/>
                  </a:lnTo>
                  <a:lnTo>
                    <a:pt x="306" y="216"/>
                  </a:lnTo>
                  <a:lnTo>
                    <a:pt x="300" y="216"/>
                  </a:lnTo>
                  <a:lnTo>
                    <a:pt x="294" y="216"/>
                  </a:lnTo>
                  <a:lnTo>
                    <a:pt x="288" y="216"/>
                  </a:lnTo>
                  <a:lnTo>
                    <a:pt x="282" y="216"/>
                  </a:lnTo>
                  <a:lnTo>
                    <a:pt x="276" y="216"/>
                  </a:lnTo>
                  <a:lnTo>
                    <a:pt x="270" y="216"/>
                  </a:lnTo>
                  <a:lnTo>
                    <a:pt x="264" y="216"/>
                  </a:lnTo>
                  <a:lnTo>
                    <a:pt x="264" y="222"/>
                  </a:lnTo>
                  <a:lnTo>
                    <a:pt x="258" y="222"/>
                  </a:lnTo>
                  <a:lnTo>
                    <a:pt x="258" y="216"/>
                  </a:lnTo>
                  <a:lnTo>
                    <a:pt x="252" y="216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10"/>
                  </a:lnTo>
                  <a:lnTo>
                    <a:pt x="228" y="210"/>
                  </a:lnTo>
                  <a:lnTo>
                    <a:pt x="222" y="210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3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4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96" y="216"/>
                  </a:lnTo>
                  <a:lnTo>
                    <a:pt x="84" y="216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8" y="204"/>
                  </a:lnTo>
                  <a:lnTo>
                    <a:pt x="42" y="204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90" y="180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38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56"/>
                  </a:lnTo>
                  <a:lnTo>
                    <a:pt x="174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56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132" y="144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50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0" y="156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48" y="144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2" y="102"/>
                  </a:lnTo>
                  <a:lnTo>
                    <a:pt x="6" y="102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66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1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428" y="1830"/>
              <a:ext cx="306" cy="230"/>
            </a:xfrm>
            <a:custGeom>
              <a:avLst/>
              <a:gdLst>
                <a:gd name="T0" fmla="*/ 18 w 360"/>
                <a:gd name="T1" fmla="*/ 54 h 270"/>
                <a:gd name="T2" fmla="*/ 54 w 360"/>
                <a:gd name="T3" fmla="*/ 42 h 270"/>
                <a:gd name="T4" fmla="*/ 54 w 360"/>
                <a:gd name="T5" fmla="*/ 30 h 270"/>
                <a:gd name="T6" fmla="*/ 66 w 360"/>
                <a:gd name="T7" fmla="*/ 18 h 270"/>
                <a:gd name="T8" fmla="*/ 78 w 360"/>
                <a:gd name="T9" fmla="*/ 0 h 270"/>
                <a:gd name="T10" fmla="*/ 102 w 360"/>
                <a:gd name="T11" fmla="*/ 6 h 270"/>
                <a:gd name="T12" fmla="*/ 126 w 360"/>
                <a:gd name="T13" fmla="*/ 18 h 270"/>
                <a:gd name="T14" fmla="*/ 156 w 360"/>
                <a:gd name="T15" fmla="*/ 12 h 270"/>
                <a:gd name="T16" fmla="*/ 168 w 360"/>
                <a:gd name="T17" fmla="*/ 24 h 270"/>
                <a:gd name="T18" fmla="*/ 192 w 360"/>
                <a:gd name="T19" fmla="*/ 18 h 270"/>
                <a:gd name="T20" fmla="*/ 210 w 360"/>
                <a:gd name="T21" fmla="*/ 30 h 270"/>
                <a:gd name="T22" fmla="*/ 228 w 360"/>
                <a:gd name="T23" fmla="*/ 24 h 270"/>
                <a:gd name="T24" fmla="*/ 246 w 360"/>
                <a:gd name="T25" fmla="*/ 24 h 270"/>
                <a:gd name="T26" fmla="*/ 264 w 360"/>
                <a:gd name="T27" fmla="*/ 24 h 270"/>
                <a:gd name="T28" fmla="*/ 276 w 360"/>
                <a:gd name="T29" fmla="*/ 12 h 270"/>
                <a:gd name="T30" fmla="*/ 288 w 360"/>
                <a:gd name="T31" fmla="*/ 12 h 270"/>
                <a:gd name="T32" fmla="*/ 306 w 360"/>
                <a:gd name="T33" fmla="*/ 30 h 270"/>
                <a:gd name="T34" fmla="*/ 312 w 360"/>
                <a:gd name="T35" fmla="*/ 54 h 270"/>
                <a:gd name="T36" fmla="*/ 318 w 360"/>
                <a:gd name="T37" fmla="*/ 72 h 270"/>
                <a:gd name="T38" fmla="*/ 324 w 360"/>
                <a:gd name="T39" fmla="*/ 78 h 270"/>
                <a:gd name="T40" fmla="*/ 330 w 360"/>
                <a:gd name="T41" fmla="*/ 108 h 270"/>
                <a:gd name="T42" fmla="*/ 342 w 360"/>
                <a:gd name="T43" fmla="*/ 126 h 270"/>
                <a:gd name="T44" fmla="*/ 336 w 360"/>
                <a:gd name="T45" fmla="*/ 138 h 270"/>
                <a:gd name="T46" fmla="*/ 336 w 360"/>
                <a:gd name="T47" fmla="*/ 150 h 270"/>
                <a:gd name="T48" fmla="*/ 354 w 360"/>
                <a:gd name="T49" fmla="*/ 156 h 270"/>
                <a:gd name="T50" fmla="*/ 360 w 360"/>
                <a:gd name="T51" fmla="*/ 174 h 270"/>
                <a:gd name="T52" fmla="*/ 354 w 360"/>
                <a:gd name="T53" fmla="*/ 192 h 270"/>
                <a:gd name="T54" fmla="*/ 354 w 360"/>
                <a:gd name="T55" fmla="*/ 210 h 270"/>
                <a:gd name="T56" fmla="*/ 336 w 360"/>
                <a:gd name="T57" fmla="*/ 204 h 270"/>
                <a:gd name="T58" fmla="*/ 336 w 360"/>
                <a:gd name="T59" fmla="*/ 216 h 270"/>
                <a:gd name="T60" fmla="*/ 348 w 360"/>
                <a:gd name="T61" fmla="*/ 228 h 270"/>
                <a:gd name="T62" fmla="*/ 342 w 360"/>
                <a:gd name="T63" fmla="*/ 246 h 270"/>
                <a:gd name="T64" fmla="*/ 318 w 360"/>
                <a:gd name="T65" fmla="*/ 246 h 270"/>
                <a:gd name="T66" fmla="*/ 306 w 360"/>
                <a:gd name="T67" fmla="*/ 264 h 270"/>
                <a:gd name="T68" fmla="*/ 288 w 360"/>
                <a:gd name="T69" fmla="*/ 270 h 270"/>
                <a:gd name="T70" fmla="*/ 270 w 360"/>
                <a:gd name="T71" fmla="*/ 264 h 270"/>
                <a:gd name="T72" fmla="*/ 276 w 360"/>
                <a:gd name="T73" fmla="*/ 234 h 270"/>
                <a:gd name="T74" fmla="*/ 264 w 360"/>
                <a:gd name="T75" fmla="*/ 210 h 270"/>
                <a:gd name="T76" fmla="*/ 258 w 360"/>
                <a:gd name="T77" fmla="*/ 204 h 270"/>
                <a:gd name="T78" fmla="*/ 234 w 360"/>
                <a:gd name="T79" fmla="*/ 204 h 270"/>
                <a:gd name="T80" fmla="*/ 210 w 360"/>
                <a:gd name="T81" fmla="*/ 216 h 270"/>
                <a:gd name="T82" fmla="*/ 222 w 360"/>
                <a:gd name="T83" fmla="*/ 192 h 270"/>
                <a:gd name="T84" fmla="*/ 210 w 360"/>
                <a:gd name="T85" fmla="*/ 168 h 270"/>
                <a:gd name="T86" fmla="*/ 198 w 360"/>
                <a:gd name="T87" fmla="*/ 144 h 270"/>
                <a:gd name="T88" fmla="*/ 138 w 360"/>
                <a:gd name="T89" fmla="*/ 132 h 270"/>
                <a:gd name="T90" fmla="*/ 120 w 360"/>
                <a:gd name="T91" fmla="*/ 150 h 270"/>
                <a:gd name="T92" fmla="*/ 102 w 360"/>
                <a:gd name="T93" fmla="*/ 168 h 270"/>
                <a:gd name="T94" fmla="*/ 84 w 360"/>
                <a:gd name="T95" fmla="*/ 174 h 270"/>
                <a:gd name="T96" fmla="*/ 78 w 360"/>
                <a:gd name="T97" fmla="*/ 174 h 270"/>
                <a:gd name="T98" fmla="*/ 72 w 360"/>
                <a:gd name="T99" fmla="*/ 162 h 270"/>
                <a:gd name="T100" fmla="*/ 60 w 360"/>
                <a:gd name="T101" fmla="*/ 150 h 270"/>
                <a:gd name="T102" fmla="*/ 60 w 360"/>
                <a:gd name="T103" fmla="*/ 138 h 270"/>
                <a:gd name="T104" fmla="*/ 42 w 360"/>
                <a:gd name="T105" fmla="*/ 126 h 270"/>
                <a:gd name="T106" fmla="*/ 30 w 360"/>
                <a:gd name="T107" fmla="*/ 120 h 270"/>
                <a:gd name="T108" fmla="*/ 12 w 360"/>
                <a:gd name="T109" fmla="*/ 102 h 270"/>
                <a:gd name="T110" fmla="*/ 12 w 360"/>
                <a:gd name="T111" fmla="*/ 102 h 270"/>
                <a:gd name="T112" fmla="*/ 6 w 360"/>
                <a:gd name="T113" fmla="*/ 84 h 270"/>
                <a:gd name="T114" fmla="*/ 0 w 360"/>
                <a:gd name="T115" fmla="*/ 78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0"/>
                <a:gd name="T175" fmla="*/ 0 h 270"/>
                <a:gd name="T176" fmla="*/ 360 w 360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0" h="270">
                  <a:moveTo>
                    <a:pt x="0" y="78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204" y="24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94" y="24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306" y="30"/>
                  </a:lnTo>
                  <a:lnTo>
                    <a:pt x="306" y="36"/>
                  </a:lnTo>
                  <a:lnTo>
                    <a:pt x="306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54"/>
                  </a:lnTo>
                  <a:lnTo>
                    <a:pt x="312" y="60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18" y="66"/>
                  </a:lnTo>
                  <a:lnTo>
                    <a:pt x="318" y="72"/>
                  </a:lnTo>
                  <a:lnTo>
                    <a:pt x="312" y="72"/>
                  </a:lnTo>
                  <a:lnTo>
                    <a:pt x="312" y="78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0" y="102"/>
                  </a:lnTo>
                  <a:lnTo>
                    <a:pt x="330" y="108"/>
                  </a:lnTo>
                  <a:lnTo>
                    <a:pt x="336" y="108"/>
                  </a:lnTo>
                  <a:lnTo>
                    <a:pt x="336" y="114"/>
                  </a:lnTo>
                  <a:lnTo>
                    <a:pt x="342" y="114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2" y="162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48" y="162"/>
                  </a:lnTo>
                  <a:lnTo>
                    <a:pt x="348" y="168"/>
                  </a:lnTo>
                  <a:lnTo>
                    <a:pt x="348" y="174"/>
                  </a:lnTo>
                  <a:lnTo>
                    <a:pt x="354" y="174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8" y="186"/>
                  </a:lnTo>
                  <a:lnTo>
                    <a:pt x="348" y="192"/>
                  </a:lnTo>
                  <a:lnTo>
                    <a:pt x="354" y="192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36" y="210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34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36" y="246"/>
                  </a:lnTo>
                  <a:lnTo>
                    <a:pt x="336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2" y="246"/>
                  </a:lnTo>
                  <a:lnTo>
                    <a:pt x="306" y="252"/>
                  </a:lnTo>
                  <a:lnTo>
                    <a:pt x="312" y="252"/>
                  </a:lnTo>
                  <a:lnTo>
                    <a:pt x="306" y="258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2" y="264"/>
                  </a:lnTo>
                  <a:lnTo>
                    <a:pt x="282" y="258"/>
                  </a:lnTo>
                  <a:lnTo>
                    <a:pt x="276" y="258"/>
                  </a:lnTo>
                  <a:lnTo>
                    <a:pt x="270" y="258"/>
                  </a:lnTo>
                  <a:lnTo>
                    <a:pt x="270" y="264"/>
                  </a:lnTo>
                  <a:lnTo>
                    <a:pt x="270" y="258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6" y="240"/>
                  </a:lnTo>
                  <a:lnTo>
                    <a:pt x="276" y="234"/>
                  </a:lnTo>
                  <a:lnTo>
                    <a:pt x="276" y="228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70" y="216"/>
                  </a:lnTo>
                  <a:lnTo>
                    <a:pt x="270" y="210"/>
                  </a:lnTo>
                  <a:lnTo>
                    <a:pt x="264" y="210"/>
                  </a:lnTo>
                  <a:lnTo>
                    <a:pt x="264" y="204"/>
                  </a:lnTo>
                  <a:lnTo>
                    <a:pt x="258" y="204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46" y="204"/>
                  </a:lnTo>
                  <a:lnTo>
                    <a:pt x="246" y="210"/>
                  </a:lnTo>
                  <a:lnTo>
                    <a:pt x="240" y="210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10"/>
                  </a:lnTo>
                  <a:lnTo>
                    <a:pt x="222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38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50" y="132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84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15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494" y="1943"/>
              <a:ext cx="128" cy="127"/>
            </a:xfrm>
            <a:custGeom>
              <a:avLst/>
              <a:gdLst>
                <a:gd name="T0" fmla="*/ 12 w 150"/>
                <a:gd name="T1" fmla="*/ 42 h 150"/>
                <a:gd name="T2" fmla="*/ 18 w 150"/>
                <a:gd name="T3" fmla="*/ 42 h 150"/>
                <a:gd name="T4" fmla="*/ 30 w 150"/>
                <a:gd name="T5" fmla="*/ 36 h 150"/>
                <a:gd name="T6" fmla="*/ 36 w 150"/>
                <a:gd name="T7" fmla="*/ 24 h 150"/>
                <a:gd name="T8" fmla="*/ 42 w 150"/>
                <a:gd name="T9" fmla="*/ 12 h 150"/>
                <a:gd name="T10" fmla="*/ 54 w 150"/>
                <a:gd name="T11" fmla="*/ 6 h 150"/>
                <a:gd name="T12" fmla="*/ 60 w 150"/>
                <a:gd name="T13" fmla="*/ 6 h 150"/>
                <a:gd name="T14" fmla="*/ 108 w 150"/>
                <a:gd name="T15" fmla="*/ 6 h 150"/>
                <a:gd name="T16" fmla="*/ 120 w 150"/>
                <a:gd name="T17" fmla="*/ 18 h 150"/>
                <a:gd name="T18" fmla="*/ 126 w 150"/>
                <a:gd name="T19" fmla="*/ 30 h 150"/>
                <a:gd name="T20" fmla="*/ 132 w 150"/>
                <a:gd name="T21" fmla="*/ 42 h 150"/>
                <a:gd name="T22" fmla="*/ 138 w 150"/>
                <a:gd name="T23" fmla="*/ 54 h 150"/>
                <a:gd name="T24" fmla="*/ 144 w 150"/>
                <a:gd name="T25" fmla="*/ 66 h 150"/>
                <a:gd name="T26" fmla="*/ 132 w 150"/>
                <a:gd name="T27" fmla="*/ 72 h 150"/>
                <a:gd name="T28" fmla="*/ 132 w 150"/>
                <a:gd name="T29" fmla="*/ 78 h 150"/>
                <a:gd name="T30" fmla="*/ 144 w 150"/>
                <a:gd name="T31" fmla="*/ 78 h 150"/>
                <a:gd name="T32" fmla="*/ 150 w 150"/>
                <a:gd name="T33" fmla="*/ 84 h 150"/>
                <a:gd name="T34" fmla="*/ 138 w 150"/>
                <a:gd name="T35" fmla="*/ 96 h 150"/>
                <a:gd name="T36" fmla="*/ 132 w 150"/>
                <a:gd name="T37" fmla="*/ 114 h 150"/>
                <a:gd name="T38" fmla="*/ 120 w 150"/>
                <a:gd name="T39" fmla="*/ 120 h 150"/>
                <a:gd name="T40" fmla="*/ 108 w 150"/>
                <a:gd name="T41" fmla="*/ 132 h 150"/>
                <a:gd name="T42" fmla="*/ 102 w 150"/>
                <a:gd name="T43" fmla="*/ 144 h 150"/>
                <a:gd name="T44" fmla="*/ 84 w 150"/>
                <a:gd name="T45" fmla="*/ 144 h 150"/>
                <a:gd name="T46" fmla="*/ 54 w 150"/>
                <a:gd name="T47" fmla="*/ 132 h 150"/>
                <a:gd name="T48" fmla="*/ 48 w 150"/>
                <a:gd name="T49" fmla="*/ 126 h 150"/>
                <a:gd name="T50" fmla="*/ 42 w 150"/>
                <a:gd name="T51" fmla="*/ 126 h 150"/>
                <a:gd name="T52" fmla="*/ 48 w 150"/>
                <a:gd name="T53" fmla="*/ 120 h 150"/>
                <a:gd name="T54" fmla="*/ 48 w 150"/>
                <a:gd name="T55" fmla="*/ 114 h 150"/>
                <a:gd name="T56" fmla="*/ 42 w 150"/>
                <a:gd name="T57" fmla="*/ 114 h 150"/>
                <a:gd name="T58" fmla="*/ 30 w 150"/>
                <a:gd name="T59" fmla="*/ 114 h 150"/>
                <a:gd name="T60" fmla="*/ 24 w 150"/>
                <a:gd name="T61" fmla="*/ 102 h 150"/>
                <a:gd name="T62" fmla="*/ 30 w 150"/>
                <a:gd name="T63" fmla="*/ 102 h 150"/>
                <a:gd name="T64" fmla="*/ 24 w 150"/>
                <a:gd name="T65" fmla="*/ 90 h 150"/>
                <a:gd name="T66" fmla="*/ 12 w 150"/>
                <a:gd name="T67" fmla="*/ 84 h 150"/>
                <a:gd name="T68" fmla="*/ 6 w 150"/>
                <a:gd name="T69" fmla="*/ 84 h 150"/>
                <a:gd name="T70" fmla="*/ 12 w 150"/>
                <a:gd name="T71" fmla="*/ 72 h 150"/>
                <a:gd name="T72" fmla="*/ 12 w 150"/>
                <a:gd name="T73" fmla="*/ 78 h 150"/>
                <a:gd name="T74" fmla="*/ 24 w 150"/>
                <a:gd name="T75" fmla="*/ 72 h 150"/>
                <a:gd name="T76" fmla="*/ 12 w 150"/>
                <a:gd name="T77" fmla="*/ 72 h 150"/>
                <a:gd name="T78" fmla="*/ 6 w 150"/>
                <a:gd name="T79" fmla="*/ 72 h 150"/>
                <a:gd name="T80" fmla="*/ 6 w 150"/>
                <a:gd name="T81" fmla="*/ 66 h 150"/>
                <a:gd name="T82" fmla="*/ 12 w 150"/>
                <a:gd name="T83" fmla="*/ 54 h 150"/>
                <a:gd name="T84" fmla="*/ 6 w 150"/>
                <a:gd name="T85" fmla="*/ 54 h 1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0"/>
                <a:gd name="T130" fmla="*/ 0 h 150"/>
                <a:gd name="T131" fmla="*/ 150 w 150"/>
                <a:gd name="T132" fmla="*/ 150 h 15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0" h="150">
                  <a:moveTo>
                    <a:pt x="0" y="48"/>
                  </a:move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72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38" y="48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0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16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826" y="1728"/>
              <a:ext cx="336" cy="240"/>
            </a:xfrm>
            <a:custGeom>
              <a:avLst/>
              <a:gdLst>
                <a:gd name="T0" fmla="*/ 6 w 396"/>
                <a:gd name="T1" fmla="*/ 210 h 282"/>
                <a:gd name="T2" fmla="*/ 12 w 396"/>
                <a:gd name="T3" fmla="*/ 192 h 282"/>
                <a:gd name="T4" fmla="*/ 18 w 396"/>
                <a:gd name="T5" fmla="*/ 174 h 282"/>
                <a:gd name="T6" fmla="*/ 12 w 396"/>
                <a:gd name="T7" fmla="*/ 162 h 282"/>
                <a:gd name="T8" fmla="*/ 12 w 396"/>
                <a:gd name="T9" fmla="*/ 162 h 282"/>
                <a:gd name="T10" fmla="*/ 30 w 396"/>
                <a:gd name="T11" fmla="*/ 150 h 282"/>
                <a:gd name="T12" fmla="*/ 48 w 396"/>
                <a:gd name="T13" fmla="*/ 138 h 282"/>
                <a:gd name="T14" fmla="*/ 48 w 396"/>
                <a:gd name="T15" fmla="*/ 120 h 282"/>
                <a:gd name="T16" fmla="*/ 66 w 396"/>
                <a:gd name="T17" fmla="*/ 108 h 282"/>
                <a:gd name="T18" fmla="*/ 66 w 396"/>
                <a:gd name="T19" fmla="*/ 90 h 282"/>
                <a:gd name="T20" fmla="*/ 72 w 396"/>
                <a:gd name="T21" fmla="*/ 78 h 282"/>
                <a:gd name="T22" fmla="*/ 96 w 396"/>
                <a:gd name="T23" fmla="*/ 90 h 282"/>
                <a:gd name="T24" fmla="*/ 114 w 396"/>
                <a:gd name="T25" fmla="*/ 78 h 282"/>
                <a:gd name="T26" fmla="*/ 114 w 396"/>
                <a:gd name="T27" fmla="*/ 66 h 282"/>
                <a:gd name="T28" fmla="*/ 132 w 396"/>
                <a:gd name="T29" fmla="*/ 66 h 282"/>
                <a:gd name="T30" fmla="*/ 150 w 396"/>
                <a:gd name="T31" fmla="*/ 36 h 282"/>
                <a:gd name="T32" fmla="*/ 180 w 396"/>
                <a:gd name="T33" fmla="*/ 30 h 282"/>
                <a:gd name="T34" fmla="*/ 228 w 396"/>
                <a:gd name="T35" fmla="*/ 6 h 282"/>
                <a:gd name="T36" fmla="*/ 276 w 396"/>
                <a:gd name="T37" fmla="*/ 6 h 282"/>
                <a:gd name="T38" fmla="*/ 282 w 396"/>
                <a:gd name="T39" fmla="*/ 12 h 282"/>
                <a:gd name="T40" fmla="*/ 294 w 396"/>
                <a:gd name="T41" fmla="*/ 36 h 282"/>
                <a:gd name="T42" fmla="*/ 300 w 396"/>
                <a:gd name="T43" fmla="*/ 60 h 282"/>
                <a:gd name="T44" fmla="*/ 318 w 396"/>
                <a:gd name="T45" fmla="*/ 72 h 282"/>
                <a:gd name="T46" fmla="*/ 336 w 396"/>
                <a:gd name="T47" fmla="*/ 84 h 282"/>
                <a:gd name="T48" fmla="*/ 354 w 396"/>
                <a:gd name="T49" fmla="*/ 120 h 282"/>
                <a:gd name="T50" fmla="*/ 384 w 396"/>
                <a:gd name="T51" fmla="*/ 120 h 282"/>
                <a:gd name="T52" fmla="*/ 396 w 396"/>
                <a:gd name="T53" fmla="*/ 156 h 282"/>
                <a:gd name="T54" fmla="*/ 390 w 396"/>
                <a:gd name="T55" fmla="*/ 168 h 282"/>
                <a:gd name="T56" fmla="*/ 360 w 396"/>
                <a:gd name="T57" fmla="*/ 180 h 282"/>
                <a:gd name="T58" fmla="*/ 336 w 396"/>
                <a:gd name="T59" fmla="*/ 186 h 282"/>
                <a:gd name="T60" fmla="*/ 324 w 396"/>
                <a:gd name="T61" fmla="*/ 192 h 282"/>
                <a:gd name="T62" fmla="*/ 306 w 396"/>
                <a:gd name="T63" fmla="*/ 204 h 282"/>
                <a:gd name="T64" fmla="*/ 258 w 396"/>
                <a:gd name="T65" fmla="*/ 198 h 282"/>
                <a:gd name="T66" fmla="*/ 246 w 396"/>
                <a:gd name="T67" fmla="*/ 198 h 282"/>
                <a:gd name="T68" fmla="*/ 234 w 396"/>
                <a:gd name="T69" fmla="*/ 204 h 282"/>
                <a:gd name="T70" fmla="*/ 216 w 396"/>
                <a:gd name="T71" fmla="*/ 204 h 282"/>
                <a:gd name="T72" fmla="*/ 192 w 396"/>
                <a:gd name="T73" fmla="*/ 204 h 282"/>
                <a:gd name="T74" fmla="*/ 150 w 396"/>
                <a:gd name="T75" fmla="*/ 204 h 282"/>
                <a:gd name="T76" fmla="*/ 132 w 396"/>
                <a:gd name="T77" fmla="*/ 204 h 282"/>
                <a:gd name="T78" fmla="*/ 126 w 396"/>
                <a:gd name="T79" fmla="*/ 222 h 282"/>
                <a:gd name="T80" fmla="*/ 132 w 396"/>
                <a:gd name="T81" fmla="*/ 228 h 282"/>
                <a:gd name="T82" fmla="*/ 132 w 396"/>
                <a:gd name="T83" fmla="*/ 246 h 282"/>
                <a:gd name="T84" fmla="*/ 138 w 396"/>
                <a:gd name="T85" fmla="*/ 264 h 282"/>
                <a:gd name="T86" fmla="*/ 138 w 396"/>
                <a:gd name="T87" fmla="*/ 282 h 282"/>
                <a:gd name="T88" fmla="*/ 120 w 396"/>
                <a:gd name="T89" fmla="*/ 264 h 282"/>
                <a:gd name="T90" fmla="*/ 108 w 396"/>
                <a:gd name="T91" fmla="*/ 258 h 282"/>
                <a:gd name="T92" fmla="*/ 84 w 396"/>
                <a:gd name="T93" fmla="*/ 252 h 282"/>
                <a:gd name="T94" fmla="*/ 66 w 396"/>
                <a:gd name="T95" fmla="*/ 264 h 282"/>
                <a:gd name="T96" fmla="*/ 48 w 396"/>
                <a:gd name="T97" fmla="*/ 264 h 282"/>
                <a:gd name="T98" fmla="*/ 24 w 396"/>
                <a:gd name="T99" fmla="*/ 258 h 282"/>
                <a:gd name="T100" fmla="*/ 24 w 396"/>
                <a:gd name="T101" fmla="*/ 246 h 282"/>
                <a:gd name="T102" fmla="*/ 18 w 396"/>
                <a:gd name="T103" fmla="*/ 234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96"/>
                <a:gd name="T157" fmla="*/ 0 h 282"/>
                <a:gd name="T158" fmla="*/ 396 w 39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96" h="282">
                  <a:moveTo>
                    <a:pt x="0" y="228"/>
                  </a:moveTo>
                  <a:lnTo>
                    <a:pt x="0" y="222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72"/>
                  </a:lnTo>
                  <a:lnTo>
                    <a:pt x="126" y="66"/>
                  </a:lnTo>
                  <a:lnTo>
                    <a:pt x="126" y="72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32" y="54"/>
                  </a:lnTo>
                  <a:lnTo>
                    <a:pt x="132" y="48"/>
                  </a:lnTo>
                  <a:lnTo>
                    <a:pt x="144" y="48"/>
                  </a:lnTo>
                  <a:lnTo>
                    <a:pt x="150" y="36"/>
                  </a:lnTo>
                  <a:lnTo>
                    <a:pt x="162" y="42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40" y="0"/>
                  </a:lnTo>
                  <a:lnTo>
                    <a:pt x="252" y="0"/>
                  </a:lnTo>
                  <a:lnTo>
                    <a:pt x="264" y="0"/>
                  </a:lnTo>
                  <a:lnTo>
                    <a:pt x="276" y="0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288" y="0"/>
                  </a:lnTo>
                  <a:lnTo>
                    <a:pt x="288" y="6"/>
                  </a:lnTo>
                  <a:lnTo>
                    <a:pt x="282" y="12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294" y="48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6" y="60"/>
                  </a:lnTo>
                  <a:lnTo>
                    <a:pt x="306" y="66"/>
                  </a:lnTo>
                  <a:lnTo>
                    <a:pt x="312" y="66"/>
                  </a:lnTo>
                  <a:lnTo>
                    <a:pt x="312" y="72"/>
                  </a:lnTo>
                  <a:lnTo>
                    <a:pt x="318" y="72"/>
                  </a:lnTo>
                  <a:lnTo>
                    <a:pt x="324" y="72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84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54" y="120"/>
                  </a:lnTo>
                  <a:lnTo>
                    <a:pt x="366" y="120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78" y="132"/>
                  </a:lnTo>
                  <a:lnTo>
                    <a:pt x="378" y="138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2" y="180"/>
                  </a:lnTo>
                  <a:lnTo>
                    <a:pt x="366" y="180"/>
                  </a:lnTo>
                  <a:lnTo>
                    <a:pt x="360" y="180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2" y="180"/>
                  </a:lnTo>
                  <a:lnTo>
                    <a:pt x="342" y="186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192"/>
                  </a:lnTo>
                  <a:lnTo>
                    <a:pt x="330" y="198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06" y="204"/>
                  </a:lnTo>
                  <a:lnTo>
                    <a:pt x="300" y="204"/>
                  </a:lnTo>
                  <a:lnTo>
                    <a:pt x="300" y="198"/>
                  </a:lnTo>
                  <a:lnTo>
                    <a:pt x="264" y="192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52" y="192"/>
                  </a:lnTo>
                  <a:lnTo>
                    <a:pt x="252" y="198"/>
                  </a:lnTo>
                  <a:lnTo>
                    <a:pt x="246" y="198"/>
                  </a:lnTo>
                  <a:lnTo>
                    <a:pt x="246" y="204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22" y="198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8" y="198"/>
                  </a:lnTo>
                  <a:lnTo>
                    <a:pt x="132" y="198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6" y="216"/>
                  </a:lnTo>
                  <a:lnTo>
                    <a:pt x="132" y="216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8" y="240"/>
                  </a:lnTo>
                  <a:lnTo>
                    <a:pt x="132" y="240"/>
                  </a:lnTo>
                  <a:lnTo>
                    <a:pt x="138" y="246"/>
                  </a:lnTo>
                  <a:lnTo>
                    <a:pt x="132" y="246"/>
                  </a:lnTo>
                  <a:lnTo>
                    <a:pt x="138" y="246"/>
                  </a:lnTo>
                  <a:lnTo>
                    <a:pt x="138" y="252"/>
                  </a:lnTo>
                  <a:lnTo>
                    <a:pt x="138" y="258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70"/>
                  </a:lnTo>
                  <a:lnTo>
                    <a:pt x="138" y="276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14" y="252"/>
                  </a:lnTo>
                  <a:lnTo>
                    <a:pt x="114" y="258"/>
                  </a:lnTo>
                  <a:lnTo>
                    <a:pt x="108" y="258"/>
                  </a:lnTo>
                  <a:lnTo>
                    <a:pt x="108" y="252"/>
                  </a:lnTo>
                  <a:lnTo>
                    <a:pt x="102" y="252"/>
                  </a:lnTo>
                  <a:lnTo>
                    <a:pt x="96" y="252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54" y="270"/>
                  </a:lnTo>
                  <a:lnTo>
                    <a:pt x="48" y="270"/>
                  </a:lnTo>
                  <a:lnTo>
                    <a:pt x="48" y="264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58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0" y="234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17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922" y="1892"/>
              <a:ext cx="184" cy="270"/>
            </a:xfrm>
            <a:custGeom>
              <a:avLst/>
              <a:gdLst>
                <a:gd name="T0" fmla="*/ 18 w 216"/>
                <a:gd name="T1" fmla="*/ 72 h 318"/>
                <a:gd name="T2" fmla="*/ 24 w 216"/>
                <a:gd name="T3" fmla="*/ 60 h 318"/>
                <a:gd name="T4" fmla="*/ 18 w 216"/>
                <a:gd name="T5" fmla="*/ 48 h 318"/>
                <a:gd name="T6" fmla="*/ 18 w 216"/>
                <a:gd name="T7" fmla="*/ 42 h 318"/>
                <a:gd name="T8" fmla="*/ 12 w 216"/>
                <a:gd name="T9" fmla="*/ 30 h 318"/>
                <a:gd name="T10" fmla="*/ 18 w 216"/>
                <a:gd name="T11" fmla="*/ 18 h 318"/>
                <a:gd name="T12" fmla="*/ 24 w 216"/>
                <a:gd name="T13" fmla="*/ 12 h 318"/>
                <a:gd name="T14" fmla="*/ 48 w 216"/>
                <a:gd name="T15" fmla="*/ 12 h 318"/>
                <a:gd name="T16" fmla="*/ 78 w 216"/>
                <a:gd name="T17" fmla="*/ 6 h 318"/>
                <a:gd name="T18" fmla="*/ 102 w 216"/>
                <a:gd name="T19" fmla="*/ 12 h 318"/>
                <a:gd name="T20" fmla="*/ 114 w 216"/>
                <a:gd name="T21" fmla="*/ 12 h 318"/>
                <a:gd name="T22" fmla="*/ 126 w 216"/>
                <a:gd name="T23" fmla="*/ 12 h 318"/>
                <a:gd name="T24" fmla="*/ 138 w 216"/>
                <a:gd name="T25" fmla="*/ 0 h 318"/>
                <a:gd name="T26" fmla="*/ 144 w 216"/>
                <a:gd name="T27" fmla="*/ 0 h 318"/>
                <a:gd name="T28" fmla="*/ 162 w 216"/>
                <a:gd name="T29" fmla="*/ 6 h 318"/>
                <a:gd name="T30" fmla="*/ 156 w 216"/>
                <a:gd name="T31" fmla="*/ 30 h 318"/>
                <a:gd name="T32" fmla="*/ 174 w 216"/>
                <a:gd name="T33" fmla="*/ 36 h 318"/>
                <a:gd name="T34" fmla="*/ 180 w 216"/>
                <a:gd name="T35" fmla="*/ 54 h 318"/>
                <a:gd name="T36" fmla="*/ 180 w 216"/>
                <a:gd name="T37" fmla="*/ 66 h 318"/>
                <a:gd name="T38" fmla="*/ 174 w 216"/>
                <a:gd name="T39" fmla="*/ 78 h 318"/>
                <a:gd name="T40" fmla="*/ 174 w 216"/>
                <a:gd name="T41" fmla="*/ 90 h 318"/>
                <a:gd name="T42" fmla="*/ 186 w 216"/>
                <a:gd name="T43" fmla="*/ 90 h 318"/>
                <a:gd name="T44" fmla="*/ 180 w 216"/>
                <a:gd name="T45" fmla="*/ 108 h 318"/>
                <a:gd name="T46" fmla="*/ 180 w 216"/>
                <a:gd name="T47" fmla="*/ 126 h 318"/>
                <a:gd name="T48" fmla="*/ 192 w 216"/>
                <a:gd name="T49" fmla="*/ 138 h 318"/>
                <a:gd name="T50" fmla="*/ 192 w 216"/>
                <a:gd name="T51" fmla="*/ 150 h 318"/>
                <a:gd name="T52" fmla="*/ 192 w 216"/>
                <a:gd name="T53" fmla="*/ 174 h 318"/>
                <a:gd name="T54" fmla="*/ 192 w 216"/>
                <a:gd name="T55" fmla="*/ 186 h 318"/>
                <a:gd name="T56" fmla="*/ 186 w 216"/>
                <a:gd name="T57" fmla="*/ 210 h 318"/>
                <a:gd name="T58" fmla="*/ 192 w 216"/>
                <a:gd name="T59" fmla="*/ 228 h 318"/>
                <a:gd name="T60" fmla="*/ 204 w 216"/>
                <a:gd name="T61" fmla="*/ 240 h 318"/>
                <a:gd name="T62" fmla="*/ 216 w 216"/>
                <a:gd name="T63" fmla="*/ 252 h 318"/>
                <a:gd name="T64" fmla="*/ 204 w 216"/>
                <a:gd name="T65" fmla="*/ 270 h 318"/>
                <a:gd name="T66" fmla="*/ 168 w 216"/>
                <a:gd name="T67" fmla="*/ 270 h 318"/>
                <a:gd name="T68" fmla="*/ 156 w 216"/>
                <a:gd name="T69" fmla="*/ 282 h 318"/>
                <a:gd name="T70" fmla="*/ 138 w 216"/>
                <a:gd name="T71" fmla="*/ 288 h 318"/>
                <a:gd name="T72" fmla="*/ 120 w 216"/>
                <a:gd name="T73" fmla="*/ 294 h 318"/>
                <a:gd name="T74" fmla="*/ 108 w 216"/>
                <a:gd name="T75" fmla="*/ 294 h 318"/>
                <a:gd name="T76" fmla="*/ 90 w 216"/>
                <a:gd name="T77" fmla="*/ 306 h 318"/>
                <a:gd name="T78" fmla="*/ 72 w 216"/>
                <a:gd name="T79" fmla="*/ 312 h 318"/>
                <a:gd name="T80" fmla="*/ 54 w 216"/>
                <a:gd name="T81" fmla="*/ 318 h 318"/>
                <a:gd name="T82" fmla="*/ 36 w 216"/>
                <a:gd name="T83" fmla="*/ 306 h 318"/>
                <a:gd name="T84" fmla="*/ 6 w 216"/>
                <a:gd name="T85" fmla="*/ 300 h 318"/>
                <a:gd name="T86" fmla="*/ 18 w 216"/>
                <a:gd name="T87" fmla="*/ 300 h 318"/>
                <a:gd name="T88" fmla="*/ 24 w 216"/>
                <a:gd name="T89" fmla="*/ 282 h 318"/>
                <a:gd name="T90" fmla="*/ 12 w 216"/>
                <a:gd name="T91" fmla="*/ 270 h 318"/>
                <a:gd name="T92" fmla="*/ 6 w 216"/>
                <a:gd name="T93" fmla="*/ 246 h 318"/>
                <a:gd name="T94" fmla="*/ 0 w 216"/>
                <a:gd name="T95" fmla="*/ 222 h 318"/>
                <a:gd name="T96" fmla="*/ 12 w 216"/>
                <a:gd name="T97" fmla="*/ 204 h 318"/>
                <a:gd name="T98" fmla="*/ 12 w 216"/>
                <a:gd name="T99" fmla="*/ 180 h 318"/>
                <a:gd name="T100" fmla="*/ 24 w 216"/>
                <a:gd name="T101" fmla="*/ 156 h 318"/>
                <a:gd name="T102" fmla="*/ 36 w 216"/>
                <a:gd name="T103" fmla="*/ 144 h 318"/>
                <a:gd name="T104" fmla="*/ 30 w 216"/>
                <a:gd name="T105" fmla="*/ 114 h 318"/>
                <a:gd name="T106" fmla="*/ 24 w 216"/>
                <a:gd name="T107" fmla="*/ 96 h 318"/>
                <a:gd name="T108" fmla="*/ 24 w 216"/>
                <a:gd name="T109" fmla="*/ 84 h 3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6"/>
                <a:gd name="T166" fmla="*/ 0 h 318"/>
                <a:gd name="T167" fmla="*/ 216 w 216"/>
                <a:gd name="T168" fmla="*/ 318 h 3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6" h="318">
                  <a:moveTo>
                    <a:pt x="24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42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74" y="78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14"/>
                  </a:lnTo>
                  <a:lnTo>
                    <a:pt x="186" y="120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0" y="246"/>
                  </a:lnTo>
                  <a:lnTo>
                    <a:pt x="216" y="246"/>
                  </a:lnTo>
                  <a:lnTo>
                    <a:pt x="216" y="252"/>
                  </a:lnTo>
                  <a:lnTo>
                    <a:pt x="216" y="258"/>
                  </a:lnTo>
                  <a:lnTo>
                    <a:pt x="210" y="264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8" y="288"/>
                  </a:lnTo>
                  <a:lnTo>
                    <a:pt x="132" y="288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20" y="294"/>
                  </a:lnTo>
                  <a:lnTo>
                    <a:pt x="114" y="294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8" y="300"/>
                  </a:lnTo>
                  <a:lnTo>
                    <a:pt x="102" y="300"/>
                  </a:lnTo>
                  <a:lnTo>
                    <a:pt x="96" y="300"/>
                  </a:lnTo>
                  <a:lnTo>
                    <a:pt x="90" y="306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8" y="312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36" y="306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12" y="306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0" y="222"/>
                  </a:lnTo>
                  <a:lnTo>
                    <a:pt x="0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18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93" y="1912"/>
              <a:ext cx="260" cy="265"/>
            </a:xfrm>
            <a:custGeom>
              <a:avLst/>
              <a:gdLst>
                <a:gd name="T0" fmla="*/ 30 w 306"/>
                <a:gd name="T1" fmla="*/ 150 h 312"/>
                <a:gd name="T2" fmla="*/ 30 w 306"/>
                <a:gd name="T3" fmla="*/ 132 h 312"/>
                <a:gd name="T4" fmla="*/ 24 w 306"/>
                <a:gd name="T5" fmla="*/ 120 h 312"/>
                <a:gd name="T6" fmla="*/ 18 w 306"/>
                <a:gd name="T7" fmla="*/ 114 h 312"/>
                <a:gd name="T8" fmla="*/ 36 w 306"/>
                <a:gd name="T9" fmla="*/ 108 h 312"/>
                <a:gd name="T10" fmla="*/ 42 w 306"/>
                <a:gd name="T11" fmla="*/ 108 h 312"/>
                <a:gd name="T12" fmla="*/ 42 w 306"/>
                <a:gd name="T13" fmla="*/ 96 h 312"/>
                <a:gd name="T14" fmla="*/ 42 w 306"/>
                <a:gd name="T15" fmla="*/ 78 h 312"/>
                <a:gd name="T16" fmla="*/ 36 w 306"/>
                <a:gd name="T17" fmla="*/ 66 h 312"/>
                <a:gd name="T18" fmla="*/ 30 w 306"/>
                <a:gd name="T19" fmla="*/ 66 h 312"/>
                <a:gd name="T20" fmla="*/ 24 w 306"/>
                <a:gd name="T21" fmla="*/ 42 h 312"/>
                <a:gd name="T22" fmla="*/ 30 w 306"/>
                <a:gd name="T23" fmla="*/ 42 h 312"/>
                <a:gd name="T24" fmla="*/ 30 w 306"/>
                <a:gd name="T25" fmla="*/ 30 h 312"/>
                <a:gd name="T26" fmla="*/ 48 w 306"/>
                <a:gd name="T27" fmla="*/ 12 h 312"/>
                <a:gd name="T28" fmla="*/ 66 w 306"/>
                <a:gd name="T29" fmla="*/ 24 h 312"/>
                <a:gd name="T30" fmla="*/ 84 w 306"/>
                <a:gd name="T31" fmla="*/ 24 h 312"/>
                <a:gd name="T32" fmla="*/ 96 w 306"/>
                <a:gd name="T33" fmla="*/ 12 h 312"/>
                <a:gd name="T34" fmla="*/ 108 w 306"/>
                <a:gd name="T35" fmla="*/ 6 h 312"/>
                <a:gd name="T36" fmla="*/ 120 w 306"/>
                <a:gd name="T37" fmla="*/ 0 h 312"/>
                <a:gd name="T38" fmla="*/ 126 w 306"/>
                <a:gd name="T39" fmla="*/ 12 h 312"/>
                <a:gd name="T40" fmla="*/ 126 w 306"/>
                <a:gd name="T41" fmla="*/ 18 h 312"/>
                <a:gd name="T42" fmla="*/ 132 w 306"/>
                <a:gd name="T43" fmla="*/ 18 h 312"/>
                <a:gd name="T44" fmla="*/ 156 w 306"/>
                <a:gd name="T45" fmla="*/ 12 h 312"/>
                <a:gd name="T46" fmla="*/ 174 w 306"/>
                <a:gd name="T47" fmla="*/ 24 h 312"/>
                <a:gd name="T48" fmla="*/ 180 w 306"/>
                <a:gd name="T49" fmla="*/ 36 h 312"/>
                <a:gd name="T50" fmla="*/ 186 w 306"/>
                <a:gd name="T51" fmla="*/ 42 h 312"/>
                <a:gd name="T52" fmla="*/ 204 w 306"/>
                <a:gd name="T53" fmla="*/ 54 h 312"/>
                <a:gd name="T54" fmla="*/ 222 w 306"/>
                <a:gd name="T55" fmla="*/ 42 h 312"/>
                <a:gd name="T56" fmla="*/ 246 w 306"/>
                <a:gd name="T57" fmla="*/ 36 h 312"/>
                <a:gd name="T58" fmla="*/ 270 w 306"/>
                <a:gd name="T59" fmla="*/ 42 h 312"/>
                <a:gd name="T60" fmla="*/ 282 w 306"/>
                <a:gd name="T61" fmla="*/ 48 h 312"/>
                <a:gd name="T62" fmla="*/ 294 w 306"/>
                <a:gd name="T63" fmla="*/ 60 h 312"/>
                <a:gd name="T64" fmla="*/ 294 w 306"/>
                <a:gd name="T65" fmla="*/ 78 h 312"/>
                <a:gd name="T66" fmla="*/ 306 w 306"/>
                <a:gd name="T67" fmla="*/ 108 h 312"/>
                <a:gd name="T68" fmla="*/ 300 w 306"/>
                <a:gd name="T69" fmla="*/ 132 h 312"/>
                <a:gd name="T70" fmla="*/ 282 w 306"/>
                <a:gd name="T71" fmla="*/ 156 h 312"/>
                <a:gd name="T72" fmla="*/ 276 w 306"/>
                <a:gd name="T73" fmla="*/ 180 h 312"/>
                <a:gd name="T74" fmla="*/ 270 w 306"/>
                <a:gd name="T75" fmla="*/ 216 h 312"/>
                <a:gd name="T76" fmla="*/ 282 w 306"/>
                <a:gd name="T77" fmla="*/ 240 h 312"/>
                <a:gd name="T78" fmla="*/ 294 w 306"/>
                <a:gd name="T79" fmla="*/ 258 h 312"/>
                <a:gd name="T80" fmla="*/ 282 w 306"/>
                <a:gd name="T81" fmla="*/ 276 h 312"/>
                <a:gd name="T82" fmla="*/ 264 w 306"/>
                <a:gd name="T83" fmla="*/ 276 h 312"/>
                <a:gd name="T84" fmla="*/ 216 w 306"/>
                <a:gd name="T85" fmla="*/ 270 h 312"/>
                <a:gd name="T86" fmla="*/ 156 w 306"/>
                <a:gd name="T87" fmla="*/ 276 h 312"/>
                <a:gd name="T88" fmla="*/ 126 w 306"/>
                <a:gd name="T89" fmla="*/ 282 h 312"/>
                <a:gd name="T90" fmla="*/ 114 w 306"/>
                <a:gd name="T91" fmla="*/ 288 h 312"/>
                <a:gd name="T92" fmla="*/ 84 w 306"/>
                <a:gd name="T93" fmla="*/ 300 h 312"/>
                <a:gd name="T94" fmla="*/ 66 w 306"/>
                <a:gd name="T95" fmla="*/ 312 h 312"/>
                <a:gd name="T96" fmla="*/ 54 w 306"/>
                <a:gd name="T97" fmla="*/ 294 h 312"/>
                <a:gd name="T98" fmla="*/ 60 w 306"/>
                <a:gd name="T99" fmla="*/ 270 h 312"/>
                <a:gd name="T100" fmla="*/ 66 w 306"/>
                <a:gd name="T101" fmla="*/ 258 h 312"/>
                <a:gd name="T102" fmla="*/ 60 w 306"/>
                <a:gd name="T103" fmla="*/ 246 h 312"/>
                <a:gd name="T104" fmla="*/ 48 w 306"/>
                <a:gd name="T105" fmla="*/ 240 h 312"/>
                <a:gd name="T106" fmla="*/ 36 w 306"/>
                <a:gd name="T107" fmla="*/ 222 h 312"/>
                <a:gd name="T108" fmla="*/ 36 w 306"/>
                <a:gd name="T109" fmla="*/ 216 h 312"/>
                <a:gd name="T110" fmla="*/ 12 w 306"/>
                <a:gd name="T111" fmla="*/ 216 h 312"/>
                <a:gd name="T112" fmla="*/ 6 w 306"/>
                <a:gd name="T113" fmla="*/ 204 h 312"/>
                <a:gd name="T114" fmla="*/ 18 w 306"/>
                <a:gd name="T115" fmla="*/ 186 h 312"/>
                <a:gd name="T116" fmla="*/ 12 w 306"/>
                <a:gd name="T117" fmla="*/ 162 h 3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06"/>
                <a:gd name="T178" fmla="*/ 0 h 312"/>
                <a:gd name="T179" fmla="*/ 306 w 306"/>
                <a:gd name="T180" fmla="*/ 312 h 3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06" h="312">
                  <a:moveTo>
                    <a:pt x="12" y="156"/>
                  </a:moveTo>
                  <a:lnTo>
                    <a:pt x="18" y="156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6" y="42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94" y="72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78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0" y="96"/>
                  </a:lnTo>
                  <a:lnTo>
                    <a:pt x="306" y="108"/>
                  </a:lnTo>
                  <a:lnTo>
                    <a:pt x="306" y="114"/>
                  </a:lnTo>
                  <a:lnTo>
                    <a:pt x="306" y="120"/>
                  </a:lnTo>
                  <a:lnTo>
                    <a:pt x="306" y="126"/>
                  </a:lnTo>
                  <a:lnTo>
                    <a:pt x="300" y="126"/>
                  </a:lnTo>
                  <a:lnTo>
                    <a:pt x="300" y="132"/>
                  </a:lnTo>
                  <a:lnTo>
                    <a:pt x="294" y="132"/>
                  </a:lnTo>
                  <a:lnTo>
                    <a:pt x="294" y="138"/>
                  </a:lnTo>
                  <a:lnTo>
                    <a:pt x="288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2" y="174"/>
                  </a:lnTo>
                  <a:lnTo>
                    <a:pt x="282" y="180"/>
                  </a:lnTo>
                  <a:lnTo>
                    <a:pt x="276" y="180"/>
                  </a:lnTo>
                  <a:lnTo>
                    <a:pt x="276" y="186"/>
                  </a:lnTo>
                  <a:lnTo>
                    <a:pt x="270" y="192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76" y="228"/>
                  </a:lnTo>
                  <a:lnTo>
                    <a:pt x="276" y="234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294" y="258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94" y="276"/>
                  </a:lnTo>
                  <a:lnTo>
                    <a:pt x="288" y="276"/>
                  </a:lnTo>
                  <a:lnTo>
                    <a:pt x="282" y="276"/>
                  </a:lnTo>
                  <a:lnTo>
                    <a:pt x="282" y="282"/>
                  </a:lnTo>
                  <a:lnTo>
                    <a:pt x="282" y="276"/>
                  </a:lnTo>
                  <a:lnTo>
                    <a:pt x="276" y="276"/>
                  </a:lnTo>
                  <a:lnTo>
                    <a:pt x="270" y="276"/>
                  </a:lnTo>
                  <a:lnTo>
                    <a:pt x="264" y="276"/>
                  </a:lnTo>
                  <a:lnTo>
                    <a:pt x="240" y="276"/>
                  </a:lnTo>
                  <a:lnTo>
                    <a:pt x="234" y="270"/>
                  </a:lnTo>
                  <a:lnTo>
                    <a:pt x="228" y="270"/>
                  </a:lnTo>
                  <a:lnTo>
                    <a:pt x="222" y="270"/>
                  </a:lnTo>
                  <a:lnTo>
                    <a:pt x="216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0" y="276"/>
                  </a:lnTo>
                  <a:lnTo>
                    <a:pt x="168" y="276"/>
                  </a:lnTo>
                  <a:lnTo>
                    <a:pt x="156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14" y="288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54" y="282"/>
                  </a:lnTo>
                  <a:lnTo>
                    <a:pt x="54" y="276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0" y="216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56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19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576" y="2004"/>
              <a:ext cx="173" cy="178"/>
            </a:xfrm>
            <a:custGeom>
              <a:avLst/>
              <a:gdLst>
                <a:gd name="T0" fmla="*/ 6 w 204"/>
                <a:gd name="T1" fmla="*/ 66 h 210"/>
                <a:gd name="T2" fmla="*/ 18 w 204"/>
                <a:gd name="T3" fmla="*/ 54 h 210"/>
                <a:gd name="T4" fmla="*/ 30 w 204"/>
                <a:gd name="T5" fmla="*/ 48 h 210"/>
                <a:gd name="T6" fmla="*/ 36 w 204"/>
                <a:gd name="T7" fmla="*/ 36 h 210"/>
                <a:gd name="T8" fmla="*/ 48 w 204"/>
                <a:gd name="T9" fmla="*/ 18 h 210"/>
                <a:gd name="T10" fmla="*/ 54 w 204"/>
                <a:gd name="T11" fmla="*/ 6 h 210"/>
                <a:gd name="T12" fmla="*/ 66 w 204"/>
                <a:gd name="T13" fmla="*/ 0 h 210"/>
                <a:gd name="T14" fmla="*/ 72 w 204"/>
                <a:gd name="T15" fmla="*/ 0 h 210"/>
                <a:gd name="T16" fmla="*/ 78 w 204"/>
                <a:gd name="T17" fmla="*/ 0 h 210"/>
                <a:gd name="T18" fmla="*/ 84 w 204"/>
                <a:gd name="T19" fmla="*/ 0 h 210"/>
                <a:gd name="T20" fmla="*/ 96 w 204"/>
                <a:gd name="T21" fmla="*/ 6 h 210"/>
                <a:gd name="T22" fmla="*/ 96 w 204"/>
                <a:gd name="T23" fmla="*/ 24 h 210"/>
                <a:gd name="T24" fmla="*/ 102 w 204"/>
                <a:gd name="T25" fmla="*/ 36 h 210"/>
                <a:gd name="T26" fmla="*/ 102 w 204"/>
                <a:gd name="T27" fmla="*/ 54 h 210"/>
                <a:gd name="T28" fmla="*/ 96 w 204"/>
                <a:gd name="T29" fmla="*/ 54 h 210"/>
                <a:gd name="T30" fmla="*/ 108 w 204"/>
                <a:gd name="T31" fmla="*/ 60 h 210"/>
                <a:gd name="T32" fmla="*/ 120 w 204"/>
                <a:gd name="T33" fmla="*/ 66 h 210"/>
                <a:gd name="T34" fmla="*/ 132 w 204"/>
                <a:gd name="T35" fmla="*/ 60 h 210"/>
                <a:gd name="T36" fmla="*/ 126 w 204"/>
                <a:gd name="T37" fmla="*/ 60 h 210"/>
                <a:gd name="T38" fmla="*/ 132 w 204"/>
                <a:gd name="T39" fmla="*/ 48 h 210"/>
                <a:gd name="T40" fmla="*/ 144 w 204"/>
                <a:gd name="T41" fmla="*/ 48 h 210"/>
                <a:gd name="T42" fmla="*/ 150 w 204"/>
                <a:gd name="T43" fmla="*/ 60 h 210"/>
                <a:gd name="T44" fmla="*/ 156 w 204"/>
                <a:gd name="T45" fmla="*/ 72 h 210"/>
                <a:gd name="T46" fmla="*/ 156 w 204"/>
                <a:gd name="T47" fmla="*/ 90 h 210"/>
                <a:gd name="T48" fmla="*/ 144 w 204"/>
                <a:gd name="T49" fmla="*/ 96 h 210"/>
                <a:gd name="T50" fmla="*/ 144 w 204"/>
                <a:gd name="T51" fmla="*/ 102 h 210"/>
                <a:gd name="T52" fmla="*/ 156 w 204"/>
                <a:gd name="T53" fmla="*/ 108 h 210"/>
                <a:gd name="T54" fmla="*/ 168 w 204"/>
                <a:gd name="T55" fmla="*/ 108 h 210"/>
                <a:gd name="T56" fmla="*/ 174 w 204"/>
                <a:gd name="T57" fmla="*/ 108 h 210"/>
                <a:gd name="T58" fmla="*/ 174 w 204"/>
                <a:gd name="T59" fmla="*/ 114 h 210"/>
                <a:gd name="T60" fmla="*/ 180 w 204"/>
                <a:gd name="T61" fmla="*/ 126 h 210"/>
                <a:gd name="T62" fmla="*/ 186 w 204"/>
                <a:gd name="T63" fmla="*/ 126 h 210"/>
                <a:gd name="T64" fmla="*/ 198 w 204"/>
                <a:gd name="T65" fmla="*/ 132 h 210"/>
                <a:gd name="T66" fmla="*/ 204 w 204"/>
                <a:gd name="T67" fmla="*/ 144 h 210"/>
                <a:gd name="T68" fmla="*/ 204 w 204"/>
                <a:gd name="T69" fmla="*/ 150 h 210"/>
                <a:gd name="T70" fmla="*/ 204 w 204"/>
                <a:gd name="T71" fmla="*/ 156 h 210"/>
                <a:gd name="T72" fmla="*/ 198 w 204"/>
                <a:gd name="T73" fmla="*/ 168 h 210"/>
                <a:gd name="T74" fmla="*/ 192 w 204"/>
                <a:gd name="T75" fmla="*/ 180 h 210"/>
                <a:gd name="T76" fmla="*/ 192 w 204"/>
                <a:gd name="T77" fmla="*/ 198 h 210"/>
                <a:gd name="T78" fmla="*/ 186 w 204"/>
                <a:gd name="T79" fmla="*/ 204 h 210"/>
                <a:gd name="T80" fmla="*/ 162 w 204"/>
                <a:gd name="T81" fmla="*/ 198 h 210"/>
                <a:gd name="T82" fmla="*/ 150 w 204"/>
                <a:gd name="T83" fmla="*/ 192 h 210"/>
                <a:gd name="T84" fmla="*/ 138 w 204"/>
                <a:gd name="T85" fmla="*/ 186 h 210"/>
                <a:gd name="T86" fmla="*/ 126 w 204"/>
                <a:gd name="T87" fmla="*/ 180 h 210"/>
                <a:gd name="T88" fmla="*/ 114 w 204"/>
                <a:gd name="T89" fmla="*/ 174 h 210"/>
                <a:gd name="T90" fmla="*/ 102 w 204"/>
                <a:gd name="T91" fmla="*/ 162 h 210"/>
                <a:gd name="T92" fmla="*/ 96 w 204"/>
                <a:gd name="T93" fmla="*/ 162 h 210"/>
                <a:gd name="T94" fmla="*/ 90 w 204"/>
                <a:gd name="T95" fmla="*/ 150 h 210"/>
                <a:gd name="T96" fmla="*/ 96 w 204"/>
                <a:gd name="T97" fmla="*/ 156 h 210"/>
                <a:gd name="T98" fmla="*/ 96 w 204"/>
                <a:gd name="T99" fmla="*/ 150 h 210"/>
                <a:gd name="T100" fmla="*/ 78 w 204"/>
                <a:gd name="T101" fmla="*/ 144 h 210"/>
                <a:gd name="T102" fmla="*/ 72 w 204"/>
                <a:gd name="T103" fmla="*/ 132 h 210"/>
                <a:gd name="T104" fmla="*/ 72 w 204"/>
                <a:gd name="T105" fmla="*/ 126 h 210"/>
                <a:gd name="T106" fmla="*/ 66 w 204"/>
                <a:gd name="T107" fmla="*/ 126 h 210"/>
                <a:gd name="T108" fmla="*/ 60 w 204"/>
                <a:gd name="T109" fmla="*/ 126 h 210"/>
                <a:gd name="T110" fmla="*/ 48 w 204"/>
                <a:gd name="T111" fmla="*/ 114 h 210"/>
                <a:gd name="T112" fmla="*/ 30 w 204"/>
                <a:gd name="T113" fmla="*/ 108 h 210"/>
                <a:gd name="T114" fmla="*/ 36 w 204"/>
                <a:gd name="T115" fmla="*/ 108 h 210"/>
                <a:gd name="T116" fmla="*/ 24 w 204"/>
                <a:gd name="T117" fmla="*/ 102 h 210"/>
                <a:gd name="T118" fmla="*/ 6 w 204"/>
                <a:gd name="T119" fmla="*/ 90 h 210"/>
                <a:gd name="T120" fmla="*/ 0 w 204"/>
                <a:gd name="T121" fmla="*/ 84 h 210"/>
                <a:gd name="T122" fmla="*/ 0 w 204"/>
                <a:gd name="T123" fmla="*/ 78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4"/>
                <a:gd name="T187" fmla="*/ 0 h 210"/>
                <a:gd name="T188" fmla="*/ 204 w 204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4" h="210">
                  <a:moveTo>
                    <a:pt x="0" y="78"/>
                  </a:moveTo>
                  <a:lnTo>
                    <a:pt x="6" y="7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54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2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74" y="198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0" y="192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6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2050" y="1892"/>
              <a:ext cx="87" cy="214"/>
            </a:xfrm>
            <a:custGeom>
              <a:avLst/>
              <a:gdLst>
                <a:gd name="T0" fmla="*/ 36 w 102"/>
                <a:gd name="T1" fmla="*/ 6 h 252"/>
                <a:gd name="T2" fmla="*/ 42 w 102"/>
                <a:gd name="T3" fmla="*/ 12 h 252"/>
                <a:gd name="T4" fmla="*/ 54 w 102"/>
                <a:gd name="T5" fmla="*/ 18 h 252"/>
                <a:gd name="T6" fmla="*/ 48 w 102"/>
                <a:gd name="T7" fmla="*/ 30 h 252"/>
                <a:gd name="T8" fmla="*/ 48 w 102"/>
                <a:gd name="T9" fmla="*/ 42 h 252"/>
                <a:gd name="T10" fmla="*/ 66 w 102"/>
                <a:gd name="T11" fmla="*/ 54 h 252"/>
                <a:gd name="T12" fmla="*/ 78 w 102"/>
                <a:gd name="T13" fmla="*/ 72 h 252"/>
                <a:gd name="T14" fmla="*/ 78 w 102"/>
                <a:gd name="T15" fmla="*/ 84 h 252"/>
                <a:gd name="T16" fmla="*/ 84 w 102"/>
                <a:gd name="T17" fmla="*/ 96 h 252"/>
                <a:gd name="T18" fmla="*/ 90 w 102"/>
                <a:gd name="T19" fmla="*/ 108 h 252"/>
                <a:gd name="T20" fmla="*/ 90 w 102"/>
                <a:gd name="T21" fmla="*/ 120 h 252"/>
                <a:gd name="T22" fmla="*/ 90 w 102"/>
                <a:gd name="T23" fmla="*/ 132 h 252"/>
                <a:gd name="T24" fmla="*/ 90 w 102"/>
                <a:gd name="T25" fmla="*/ 144 h 252"/>
                <a:gd name="T26" fmla="*/ 90 w 102"/>
                <a:gd name="T27" fmla="*/ 168 h 252"/>
                <a:gd name="T28" fmla="*/ 90 w 102"/>
                <a:gd name="T29" fmla="*/ 180 h 252"/>
                <a:gd name="T30" fmla="*/ 96 w 102"/>
                <a:gd name="T31" fmla="*/ 186 h 252"/>
                <a:gd name="T32" fmla="*/ 90 w 102"/>
                <a:gd name="T33" fmla="*/ 192 h 252"/>
                <a:gd name="T34" fmla="*/ 90 w 102"/>
                <a:gd name="T35" fmla="*/ 216 h 252"/>
                <a:gd name="T36" fmla="*/ 90 w 102"/>
                <a:gd name="T37" fmla="*/ 228 h 252"/>
                <a:gd name="T38" fmla="*/ 96 w 102"/>
                <a:gd name="T39" fmla="*/ 234 h 252"/>
                <a:gd name="T40" fmla="*/ 102 w 102"/>
                <a:gd name="T41" fmla="*/ 240 h 252"/>
                <a:gd name="T42" fmla="*/ 102 w 102"/>
                <a:gd name="T43" fmla="*/ 246 h 252"/>
                <a:gd name="T44" fmla="*/ 90 w 102"/>
                <a:gd name="T45" fmla="*/ 246 h 252"/>
                <a:gd name="T46" fmla="*/ 78 w 102"/>
                <a:gd name="T47" fmla="*/ 252 h 252"/>
                <a:gd name="T48" fmla="*/ 66 w 102"/>
                <a:gd name="T49" fmla="*/ 252 h 252"/>
                <a:gd name="T50" fmla="*/ 60 w 102"/>
                <a:gd name="T51" fmla="*/ 246 h 252"/>
                <a:gd name="T52" fmla="*/ 54 w 102"/>
                <a:gd name="T53" fmla="*/ 240 h 252"/>
                <a:gd name="T54" fmla="*/ 48 w 102"/>
                <a:gd name="T55" fmla="*/ 234 h 252"/>
                <a:gd name="T56" fmla="*/ 42 w 102"/>
                <a:gd name="T57" fmla="*/ 228 h 252"/>
                <a:gd name="T58" fmla="*/ 36 w 102"/>
                <a:gd name="T59" fmla="*/ 222 h 252"/>
                <a:gd name="T60" fmla="*/ 36 w 102"/>
                <a:gd name="T61" fmla="*/ 210 h 252"/>
                <a:gd name="T62" fmla="*/ 42 w 102"/>
                <a:gd name="T63" fmla="*/ 198 h 252"/>
                <a:gd name="T64" fmla="*/ 42 w 102"/>
                <a:gd name="T65" fmla="*/ 186 h 252"/>
                <a:gd name="T66" fmla="*/ 36 w 102"/>
                <a:gd name="T67" fmla="*/ 180 h 252"/>
                <a:gd name="T68" fmla="*/ 42 w 102"/>
                <a:gd name="T69" fmla="*/ 174 h 252"/>
                <a:gd name="T70" fmla="*/ 42 w 102"/>
                <a:gd name="T71" fmla="*/ 162 h 252"/>
                <a:gd name="T72" fmla="*/ 42 w 102"/>
                <a:gd name="T73" fmla="*/ 150 h 252"/>
                <a:gd name="T74" fmla="*/ 48 w 102"/>
                <a:gd name="T75" fmla="*/ 144 h 252"/>
                <a:gd name="T76" fmla="*/ 42 w 102"/>
                <a:gd name="T77" fmla="*/ 138 h 252"/>
                <a:gd name="T78" fmla="*/ 36 w 102"/>
                <a:gd name="T79" fmla="*/ 132 h 252"/>
                <a:gd name="T80" fmla="*/ 30 w 102"/>
                <a:gd name="T81" fmla="*/ 126 h 252"/>
                <a:gd name="T82" fmla="*/ 36 w 102"/>
                <a:gd name="T83" fmla="*/ 120 h 252"/>
                <a:gd name="T84" fmla="*/ 30 w 102"/>
                <a:gd name="T85" fmla="*/ 108 h 252"/>
                <a:gd name="T86" fmla="*/ 36 w 102"/>
                <a:gd name="T87" fmla="*/ 102 h 252"/>
                <a:gd name="T88" fmla="*/ 36 w 102"/>
                <a:gd name="T89" fmla="*/ 90 h 252"/>
                <a:gd name="T90" fmla="*/ 30 w 102"/>
                <a:gd name="T91" fmla="*/ 84 h 252"/>
                <a:gd name="T92" fmla="*/ 24 w 102"/>
                <a:gd name="T93" fmla="*/ 90 h 252"/>
                <a:gd name="T94" fmla="*/ 18 w 102"/>
                <a:gd name="T95" fmla="*/ 84 h 252"/>
                <a:gd name="T96" fmla="*/ 24 w 102"/>
                <a:gd name="T97" fmla="*/ 78 h 252"/>
                <a:gd name="T98" fmla="*/ 30 w 102"/>
                <a:gd name="T99" fmla="*/ 72 h 252"/>
                <a:gd name="T100" fmla="*/ 30 w 102"/>
                <a:gd name="T101" fmla="*/ 66 h 252"/>
                <a:gd name="T102" fmla="*/ 30 w 102"/>
                <a:gd name="T103" fmla="*/ 66 h 252"/>
                <a:gd name="T104" fmla="*/ 30 w 102"/>
                <a:gd name="T105" fmla="*/ 54 h 252"/>
                <a:gd name="T106" fmla="*/ 30 w 102"/>
                <a:gd name="T107" fmla="*/ 42 h 252"/>
                <a:gd name="T108" fmla="*/ 24 w 102"/>
                <a:gd name="T109" fmla="*/ 36 h 252"/>
                <a:gd name="T110" fmla="*/ 18 w 102"/>
                <a:gd name="T111" fmla="*/ 30 h 252"/>
                <a:gd name="T112" fmla="*/ 6 w 102"/>
                <a:gd name="T113" fmla="*/ 30 h 252"/>
                <a:gd name="T114" fmla="*/ 6 w 102"/>
                <a:gd name="T115" fmla="*/ 18 h 252"/>
                <a:gd name="T116" fmla="*/ 12 w 102"/>
                <a:gd name="T117" fmla="*/ 6 h 252"/>
                <a:gd name="T118" fmla="*/ 0 w 102"/>
                <a:gd name="T119" fmla="*/ 6 h 2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2"/>
                <a:gd name="T181" fmla="*/ 0 h 252"/>
                <a:gd name="T182" fmla="*/ 102 w 102"/>
                <a:gd name="T183" fmla="*/ 252 h 2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2" h="252">
                  <a:moveTo>
                    <a:pt x="0" y="0"/>
                  </a:move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90" y="156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0" y="246"/>
                  </a:lnTo>
                  <a:lnTo>
                    <a:pt x="84" y="246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91" y="1841"/>
              <a:ext cx="132" cy="260"/>
            </a:xfrm>
            <a:custGeom>
              <a:avLst/>
              <a:gdLst>
                <a:gd name="T0" fmla="*/ 12 w 156"/>
                <a:gd name="T1" fmla="*/ 66 h 306"/>
                <a:gd name="T2" fmla="*/ 12 w 156"/>
                <a:gd name="T3" fmla="*/ 66 h 306"/>
                <a:gd name="T4" fmla="*/ 18 w 156"/>
                <a:gd name="T5" fmla="*/ 54 h 306"/>
                <a:gd name="T6" fmla="*/ 30 w 156"/>
                <a:gd name="T7" fmla="*/ 48 h 306"/>
                <a:gd name="T8" fmla="*/ 48 w 156"/>
                <a:gd name="T9" fmla="*/ 48 h 306"/>
                <a:gd name="T10" fmla="*/ 72 w 156"/>
                <a:gd name="T11" fmla="*/ 42 h 306"/>
                <a:gd name="T12" fmla="*/ 78 w 156"/>
                <a:gd name="T13" fmla="*/ 30 h 306"/>
                <a:gd name="T14" fmla="*/ 78 w 156"/>
                <a:gd name="T15" fmla="*/ 24 h 306"/>
                <a:gd name="T16" fmla="*/ 84 w 156"/>
                <a:gd name="T17" fmla="*/ 24 h 306"/>
                <a:gd name="T18" fmla="*/ 78 w 156"/>
                <a:gd name="T19" fmla="*/ 12 h 306"/>
                <a:gd name="T20" fmla="*/ 90 w 156"/>
                <a:gd name="T21" fmla="*/ 6 h 306"/>
                <a:gd name="T22" fmla="*/ 102 w 156"/>
                <a:gd name="T23" fmla="*/ 0 h 306"/>
                <a:gd name="T24" fmla="*/ 114 w 156"/>
                <a:gd name="T25" fmla="*/ 12 h 306"/>
                <a:gd name="T26" fmla="*/ 126 w 156"/>
                <a:gd name="T27" fmla="*/ 18 h 306"/>
                <a:gd name="T28" fmla="*/ 138 w 156"/>
                <a:gd name="T29" fmla="*/ 30 h 306"/>
                <a:gd name="T30" fmla="*/ 138 w 156"/>
                <a:gd name="T31" fmla="*/ 54 h 306"/>
                <a:gd name="T32" fmla="*/ 150 w 156"/>
                <a:gd name="T33" fmla="*/ 66 h 306"/>
                <a:gd name="T34" fmla="*/ 150 w 156"/>
                <a:gd name="T35" fmla="*/ 84 h 306"/>
                <a:gd name="T36" fmla="*/ 150 w 156"/>
                <a:gd name="T37" fmla="*/ 96 h 306"/>
                <a:gd name="T38" fmla="*/ 138 w 156"/>
                <a:gd name="T39" fmla="*/ 102 h 306"/>
                <a:gd name="T40" fmla="*/ 144 w 156"/>
                <a:gd name="T41" fmla="*/ 114 h 306"/>
                <a:gd name="T42" fmla="*/ 138 w 156"/>
                <a:gd name="T43" fmla="*/ 126 h 306"/>
                <a:gd name="T44" fmla="*/ 126 w 156"/>
                <a:gd name="T45" fmla="*/ 132 h 306"/>
                <a:gd name="T46" fmla="*/ 120 w 156"/>
                <a:gd name="T47" fmla="*/ 150 h 306"/>
                <a:gd name="T48" fmla="*/ 114 w 156"/>
                <a:gd name="T49" fmla="*/ 162 h 306"/>
                <a:gd name="T50" fmla="*/ 102 w 156"/>
                <a:gd name="T51" fmla="*/ 168 h 306"/>
                <a:gd name="T52" fmla="*/ 102 w 156"/>
                <a:gd name="T53" fmla="*/ 174 h 306"/>
                <a:gd name="T54" fmla="*/ 102 w 156"/>
                <a:gd name="T55" fmla="*/ 180 h 306"/>
                <a:gd name="T56" fmla="*/ 96 w 156"/>
                <a:gd name="T57" fmla="*/ 192 h 306"/>
                <a:gd name="T58" fmla="*/ 96 w 156"/>
                <a:gd name="T59" fmla="*/ 210 h 306"/>
                <a:gd name="T60" fmla="*/ 96 w 156"/>
                <a:gd name="T61" fmla="*/ 228 h 306"/>
                <a:gd name="T62" fmla="*/ 102 w 156"/>
                <a:gd name="T63" fmla="*/ 246 h 306"/>
                <a:gd name="T64" fmla="*/ 102 w 156"/>
                <a:gd name="T65" fmla="*/ 258 h 306"/>
                <a:gd name="T66" fmla="*/ 102 w 156"/>
                <a:gd name="T67" fmla="*/ 264 h 306"/>
                <a:gd name="T68" fmla="*/ 96 w 156"/>
                <a:gd name="T69" fmla="*/ 276 h 306"/>
                <a:gd name="T70" fmla="*/ 96 w 156"/>
                <a:gd name="T71" fmla="*/ 282 h 306"/>
                <a:gd name="T72" fmla="*/ 96 w 156"/>
                <a:gd name="T73" fmla="*/ 300 h 306"/>
                <a:gd name="T74" fmla="*/ 72 w 156"/>
                <a:gd name="T75" fmla="*/ 300 h 306"/>
                <a:gd name="T76" fmla="*/ 54 w 156"/>
                <a:gd name="T77" fmla="*/ 306 h 306"/>
                <a:gd name="T78" fmla="*/ 48 w 156"/>
                <a:gd name="T79" fmla="*/ 306 h 306"/>
                <a:gd name="T80" fmla="*/ 54 w 156"/>
                <a:gd name="T81" fmla="*/ 300 h 306"/>
                <a:gd name="T82" fmla="*/ 48 w 156"/>
                <a:gd name="T83" fmla="*/ 288 h 306"/>
                <a:gd name="T84" fmla="*/ 42 w 156"/>
                <a:gd name="T85" fmla="*/ 276 h 306"/>
                <a:gd name="T86" fmla="*/ 42 w 156"/>
                <a:gd name="T87" fmla="*/ 246 h 306"/>
                <a:gd name="T88" fmla="*/ 42 w 156"/>
                <a:gd name="T89" fmla="*/ 240 h 306"/>
                <a:gd name="T90" fmla="*/ 42 w 156"/>
                <a:gd name="T91" fmla="*/ 216 h 306"/>
                <a:gd name="T92" fmla="*/ 42 w 156"/>
                <a:gd name="T93" fmla="*/ 192 h 306"/>
                <a:gd name="T94" fmla="*/ 42 w 156"/>
                <a:gd name="T95" fmla="*/ 174 h 306"/>
                <a:gd name="T96" fmla="*/ 36 w 156"/>
                <a:gd name="T97" fmla="*/ 156 h 306"/>
                <a:gd name="T98" fmla="*/ 30 w 156"/>
                <a:gd name="T99" fmla="*/ 138 h 306"/>
                <a:gd name="T100" fmla="*/ 18 w 156"/>
                <a:gd name="T101" fmla="*/ 114 h 306"/>
                <a:gd name="T102" fmla="*/ 0 w 156"/>
                <a:gd name="T103" fmla="*/ 96 h 306"/>
                <a:gd name="T104" fmla="*/ 6 w 156"/>
                <a:gd name="T105" fmla="*/ 78 h 3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6"/>
                <a:gd name="T160" fmla="*/ 0 h 306"/>
                <a:gd name="T161" fmla="*/ 156 w 156"/>
                <a:gd name="T162" fmla="*/ 306 h 30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6" h="306">
                  <a:moveTo>
                    <a:pt x="6" y="72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26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102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6" y="222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6" y="252"/>
                  </a:lnTo>
                  <a:lnTo>
                    <a:pt x="102" y="258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6" y="282"/>
                  </a:lnTo>
                  <a:lnTo>
                    <a:pt x="102" y="282"/>
                  </a:lnTo>
                  <a:lnTo>
                    <a:pt x="96" y="282"/>
                  </a:lnTo>
                  <a:lnTo>
                    <a:pt x="96" y="288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78" y="300"/>
                  </a:lnTo>
                  <a:lnTo>
                    <a:pt x="72" y="300"/>
                  </a:lnTo>
                  <a:lnTo>
                    <a:pt x="66" y="300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54" y="306"/>
                  </a:lnTo>
                  <a:lnTo>
                    <a:pt x="48" y="300"/>
                  </a:lnTo>
                  <a:lnTo>
                    <a:pt x="54" y="300"/>
                  </a:lnTo>
                  <a:lnTo>
                    <a:pt x="48" y="300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16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0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7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626" y="1372"/>
              <a:ext cx="444" cy="678"/>
            </a:xfrm>
            <a:custGeom>
              <a:avLst/>
              <a:gdLst>
                <a:gd name="T0" fmla="*/ 168 w 522"/>
                <a:gd name="T1" fmla="*/ 24 h 798"/>
                <a:gd name="T2" fmla="*/ 378 w 522"/>
                <a:gd name="T3" fmla="*/ 126 h 798"/>
                <a:gd name="T4" fmla="*/ 522 w 522"/>
                <a:gd name="T5" fmla="*/ 198 h 798"/>
                <a:gd name="T6" fmla="*/ 498 w 522"/>
                <a:gd name="T7" fmla="*/ 390 h 798"/>
                <a:gd name="T8" fmla="*/ 480 w 522"/>
                <a:gd name="T9" fmla="*/ 384 h 798"/>
                <a:gd name="T10" fmla="*/ 474 w 522"/>
                <a:gd name="T11" fmla="*/ 402 h 798"/>
                <a:gd name="T12" fmla="*/ 462 w 522"/>
                <a:gd name="T13" fmla="*/ 420 h 798"/>
                <a:gd name="T14" fmla="*/ 450 w 522"/>
                <a:gd name="T15" fmla="*/ 438 h 798"/>
                <a:gd name="T16" fmla="*/ 444 w 522"/>
                <a:gd name="T17" fmla="*/ 456 h 798"/>
                <a:gd name="T18" fmla="*/ 432 w 522"/>
                <a:gd name="T19" fmla="*/ 474 h 798"/>
                <a:gd name="T20" fmla="*/ 438 w 522"/>
                <a:gd name="T21" fmla="*/ 504 h 798"/>
                <a:gd name="T22" fmla="*/ 420 w 522"/>
                <a:gd name="T23" fmla="*/ 522 h 798"/>
                <a:gd name="T24" fmla="*/ 426 w 522"/>
                <a:gd name="T25" fmla="*/ 540 h 798"/>
                <a:gd name="T26" fmla="*/ 444 w 522"/>
                <a:gd name="T27" fmla="*/ 546 h 798"/>
                <a:gd name="T28" fmla="*/ 456 w 522"/>
                <a:gd name="T29" fmla="*/ 570 h 798"/>
                <a:gd name="T30" fmla="*/ 474 w 522"/>
                <a:gd name="T31" fmla="*/ 606 h 798"/>
                <a:gd name="T32" fmla="*/ 450 w 522"/>
                <a:gd name="T33" fmla="*/ 624 h 798"/>
                <a:gd name="T34" fmla="*/ 438 w 522"/>
                <a:gd name="T35" fmla="*/ 624 h 798"/>
                <a:gd name="T36" fmla="*/ 420 w 522"/>
                <a:gd name="T37" fmla="*/ 630 h 798"/>
                <a:gd name="T38" fmla="*/ 408 w 522"/>
                <a:gd name="T39" fmla="*/ 642 h 798"/>
                <a:gd name="T40" fmla="*/ 408 w 522"/>
                <a:gd name="T41" fmla="*/ 654 h 798"/>
                <a:gd name="T42" fmla="*/ 384 w 522"/>
                <a:gd name="T43" fmla="*/ 672 h 798"/>
                <a:gd name="T44" fmla="*/ 372 w 522"/>
                <a:gd name="T45" fmla="*/ 684 h 798"/>
                <a:gd name="T46" fmla="*/ 354 w 522"/>
                <a:gd name="T47" fmla="*/ 702 h 798"/>
                <a:gd name="T48" fmla="*/ 336 w 522"/>
                <a:gd name="T49" fmla="*/ 714 h 798"/>
                <a:gd name="T50" fmla="*/ 312 w 522"/>
                <a:gd name="T51" fmla="*/ 720 h 798"/>
                <a:gd name="T52" fmla="*/ 276 w 522"/>
                <a:gd name="T53" fmla="*/ 720 h 798"/>
                <a:gd name="T54" fmla="*/ 282 w 522"/>
                <a:gd name="T55" fmla="*/ 738 h 798"/>
                <a:gd name="T56" fmla="*/ 264 w 522"/>
                <a:gd name="T57" fmla="*/ 756 h 798"/>
                <a:gd name="T58" fmla="*/ 210 w 522"/>
                <a:gd name="T59" fmla="*/ 774 h 798"/>
                <a:gd name="T60" fmla="*/ 198 w 522"/>
                <a:gd name="T61" fmla="*/ 774 h 798"/>
                <a:gd name="T62" fmla="*/ 174 w 522"/>
                <a:gd name="T63" fmla="*/ 786 h 798"/>
                <a:gd name="T64" fmla="*/ 168 w 522"/>
                <a:gd name="T65" fmla="*/ 792 h 798"/>
                <a:gd name="T66" fmla="*/ 156 w 522"/>
                <a:gd name="T67" fmla="*/ 780 h 798"/>
                <a:gd name="T68" fmla="*/ 138 w 522"/>
                <a:gd name="T69" fmla="*/ 786 h 798"/>
                <a:gd name="T70" fmla="*/ 114 w 522"/>
                <a:gd name="T71" fmla="*/ 798 h 798"/>
                <a:gd name="T72" fmla="*/ 102 w 522"/>
                <a:gd name="T73" fmla="*/ 780 h 798"/>
                <a:gd name="T74" fmla="*/ 90 w 522"/>
                <a:gd name="T75" fmla="*/ 738 h 798"/>
                <a:gd name="T76" fmla="*/ 60 w 522"/>
                <a:gd name="T77" fmla="*/ 726 h 798"/>
                <a:gd name="T78" fmla="*/ 42 w 522"/>
                <a:gd name="T79" fmla="*/ 702 h 798"/>
                <a:gd name="T80" fmla="*/ 36 w 522"/>
                <a:gd name="T81" fmla="*/ 672 h 798"/>
                <a:gd name="T82" fmla="*/ 72 w 522"/>
                <a:gd name="T83" fmla="*/ 672 h 798"/>
                <a:gd name="T84" fmla="*/ 108 w 522"/>
                <a:gd name="T85" fmla="*/ 672 h 798"/>
                <a:gd name="T86" fmla="*/ 90 w 522"/>
                <a:gd name="T87" fmla="*/ 654 h 798"/>
                <a:gd name="T88" fmla="*/ 84 w 522"/>
                <a:gd name="T89" fmla="*/ 624 h 798"/>
                <a:gd name="T90" fmla="*/ 84 w 522"/>
                <a:gd name="T91" fmla="*/ 600 h 798"/>
                <a:gd name="T92" fmla="*/ 78 w 522"/>
                <a:gd name="T93" fmla="*/ 582 h 798"/>
                <a:gd name="T94" fmla="*/ 78 w 522"/>
                <a:gd name="T95" fmla="*/ 582 h 798"/>
                <a:gd name="T96" fmla="*/ 72 w 522"/>
                <a:gd name="T97" fmla="*/ 564 h 798"/>
                <a:gd name="T98" fmla="*/ 66 w 522"/>
                <a:gd name="T99" fmla="*/ 534 h 798"/>
                <a:gd name="T100" fmla="*/ 30 w 522"/>
                <a:gd name="T101" fmla="*/ 516 h 798"/>
                <a:gd name="T102" fmla="*/ 0 w 522"/>
                <a:gd name="T103" fmla="*/ 450 h 798"/>
                <a:gd name="T104" fmla="*/ 18 w 522"/>
                <a:gd name="T105" fmla="*/ 426 h 798"/>
                <a:gd name="T106" fmla="*/ 60 w 522"/>
                <a:gd name="T107" fmla="*/ 372 h 798"/>
                <a:gd name="T108" fmla="*/ 108 w 522"/>
                <a:gd name="T109" fmla="*/ 216 h 798"/>
                <a:gd name="T110" fmla="*/ 126 w 522"/>
                <a:gd name="T111" fmla="*/ 156 h 798"/>
                <a:gd name="T112" fmla="*/ 102 w 522"/>
                <a:gd name="T113" fmla="*/ 126 h 798"/>
                <a:gd name="T114" fmla="*/ 84 w 522"/>
                <a:gd name="T115" fmla="*/ 54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2"/>
                <a:gd name="T175" fmla="*/ 0 h 798"/>
                <a:gd name="T176" fmla="*/ 522 w 522"/>
                <a:gd name="T177" fmla="*/ 798 h 79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417" y="1810"/>
              <a:ext cx="326" cy="484"/>
            </a:xfrm>
            <a:custGeom>
              <a:avLst/>
              <a:gdLst>
                <a:gd name="T0" fmla="*/ 18 w 384"/>
                <a:gd name="T1" fmla="*/ 396 h 570"/>
                <a:gd name="T2" fmla="*/ 24 w 384"/>
                <a:gd name="T3" fmla="*/ 360 h 570"/>
                <a:gd name="T4" fmla="*/ 48 w 384"/>
                <a:gd name="T5" fmla="*/ 336 h 570"/>
                <a:gd name="T6" fmla="*/ 60 w 384"/>
                <a:gd name="T7" fmla="*/ 330 h 570"/>
                <a:gd name="T8" fmla="*/ 72 w 384"/>
                <a:gd name="T9" fmla="*/ 306 h 570"/>
                <a:gd name="T10" fmla="*/ 102 w 384"/>
                <a:gd name="T11" fmla="*/ 300 h 570"/>
                <a:gd name="T12" fmla="*/ 120 w 384"/>
                <a:gd name="T13" fmla="*/ 312 h 570"/>
                <a:gd name="T14" fmla="*/ 138 w 384"/>
                <a:gd name="T15" fmla="*/ 324 h 570"/>
                <a:gd name="T16" fmla="*/ 150 w 384"/>
                <a:gd name="T17" fmla="*/ 312 h 570"/>
                <a:gd name="T18" fmla="*/ 168 w 384"/>
                <a:gd name="T19" fmla="*/ 300 h 570"/>
                <a:gd name="T20" fmla="*/ 174 w 384"/>
                <a:gd name="T21" fmla="*/ 270 h 570"/>
                <a:gd name="T22" fmla="*/ 186 w 384"/>
                <a:gd name="T23" fmla="*/ 240 h 570"/>
                <a:gd name="T24" fmla="*/ 210 w 384"/>
                <a:gd name="T25" fmla="*/ 216 h 570"/>
                <a:gd name="T26" fmla="*/ 216 w 384"/>
                <a:gd name="T27" fmla="*/ 186 h 570"/>
                <a:gd name="T28" fmla="*/ 240 w 384"/>
                <a:gd name="T29" fmla="*/ 168 h 570"/>
                <a:gd name="T30" fmla="*/ 246 w 384"/>
                <a:gd name="T31" fmla="*/ 150 h 570"/>
                <a:gd name="T32" fmla="*/ 252 w 384"/>
                <a:gd name="T33" fmla="*/ 114 h 570"/>
                <a:gd name="T34" fmla="*/ 276 w 384"/>
                <a:gd name="T35" fmla="*/ 90 h 570"/>
                <a:gd name="T36" fmla="*/ 306 w 384"/>
                <a:gd name="T37" fmla="*/ 78 h 570"/>
                <a:gd name="T38" fmla="*/ 306 w 384"/>
                <a:gd name="T39" fmla="*/ 48 h 570"/>
                <a:gd name="T40" fmla="*/ 276 w 384"/>
                <a:gd name="T41" fmla="*/ 0 h 570"/>
                <a:gd name="T42" fmla="*/ 306 w 384"/>
                <a:gd name="T43" fmla="*/ 24 h 570"/>
                <a:gd name="T44" fmla="*/ 324 w 384"/>
                <a:gd name="T45" fmla="*/ 54 h 570"/>
                <a:gd name="T46" fmla="*/ 330 w 384"/>
                <a:gd name="T47" fmla="*/ 66 h 570"/>
                <a:gd name="T48" fmla="*/ 330 w 384"/>
                <a:gd name="T49" fmla="*/ 72 h 570"/>
                <a:gd name="T50" fmla="*/ 324 w 384"/>
                <a:gd name="T51" fmla="*/ 108 h 570"/>
                <a:gd name="T52" fmla="*/ 336 w 384"/>
                <a:gd name="T53" fmla="*/ 138 h 570"/>
                <a:gd name="T54" fmla="*/ 348 w 384"/>
                <a:gd name="T55" fmla="*/ 156 h 570"/>
                <a:gd name="T56" fmla="*/ 306 w 384"/>
                <a:gd name="T57" fmla="*/ 156 h 570"/>
                <a:gd name="T58" fmla="*/ 276 w 384"/>
                <a:gd name="T59" fmla="*/ 168 h 570"/>
                <a:gd name="T60" fmla="*/ 300 w 384"/>
                <a:gd name="T61" fmla="*/ 204 h 570"/>
                <a:gd name="T62" fmla="*/ 330 w 384"/>
                <a:gd name="T63" fmla="*/ 222 h 570"/>
                <a:gd name="T64" fmla="*/ 348 w 384"/>
                <a:gd name="T65" fmla="*/ 264 h 570"/>
                <a:gd name="T66" fmla="*/ 342 w 384"/>
                <a:gd name="T67" fmla="*/ 288 h 570"/>
                <a:gd name="T68" fmla="*/ 324 w 384"/>
                <a:gd name="T69" fmla="*/ 318 h 570"/>
                <a:gd name="T70" fmla="*/ 300 w 384"/>
                <a:gd name="T71" fmla="*/ 348 h 570"/>
                <a:gd name="T72" fmla="*/ 306 w 384"/>
                <a:gd name="T73" fmla="*/ 372 h 570"/>
                <a:gd name="T74" fmla="*/ 306 w 384"/>
                <a:gd name="T75" fmla="*/ 390 h 570"/>
                <a:gd name="T76" fmla="*/ 312 w 384"/>
                <a:gd name="T77" fmla="*/ 426 h 570"/>
                <a:gd name="T78" fmla="*/ 330 w 384"/>
                <a:gd name="T79" fmla="*/ 450 h 570"/>
                <a:gd name="T80" fmla="*/ 360 w 384"/>
                <a:gd name="T81" fmla="*/ 498 h 570"/>
                <a:gd name="T82" fmla="*/ 378 w 384"/>
                <a:gd name="T83" fmla="*/ 522 h 570"/>
                <a:gd name="T84" fmla="*/ 378 w 384"/>
                <a:gd name="T85" fmla="*/ 540 h 570"/>
                <a:gd name="T86" fmla="*/ 372 w 384"/>
                <a:gd name="T87" fmla="*/ 564 h 570"/>
                <a:gd name="T88" fmla="*/ 342 w 384"/>
                <a:gd name="T89" fmla="*/ 552 h 570"/>
                <a:gd name="T90" fmla="*/ 318 w 384"/>
                <a:gd name="T91" fmla="*/ 552 h 570"/>
                <a:gd name="T92" fmla="*/ 300 w 384"/>
                <a:gd name="T93" fmla="*/ 540 h 570"/>
                <a:gd name="T94" fmla="*/ 234 w 384"/>
                <a:gd name="T95" fmla="*/ 540 h 570"/>
                <a:gd name="T96" fmla="*/ 192 w 384"/>
                <a:gd name="T97" fmla="*/ 540 h 570"/>
                <a:gd name="T98" fmla="*/ 156 w 384"/>
                <a:gd name="T99" fmla="*/ 534 h 570"/>
                <a:gd name="T100" fmla="*/ 144 w 384"/>
                <a:gd name="T101" fmla="*/ 534 h 570"/>
                <a:gd name="T102" fmla="*/ 132 w 384"/>
                <a:gd name="T103" fmla="*/ 546 h 570"/>
                <a:gd name="T104" fmla="*/ 66 w 384"/>
                <a:gd name="T105" fmla="*/ 540 h 570"/>
                <a:gd name="T106" fmla="*/ 72 w 384"/>
                <a:gd name="T107" fmla="*/ 510 h 570"/>
                <a:gd name="T108" fmla="*/ 60 w 384"/>
                <a:gd name="T109" fmla="*/ 480 h 570"/>
                <a:gd name="T110" fmla="*/ 60 w 384"/>
                <a:gd name="T111" fmla="*/ 462 h 570"/>
                <a:gd name="T112" fmla="*/ 54 w 384"/>
                <a:gd name="T113" fmla="*/ 450 h 570"/>
                <a:gd name="T114" fmla="*/ 36 w 384"/>
                <a:gd name="T115" fmla="*/ 450 h 570"/>
                <a:gd name="T116" fmla="*/ 18 w 384"/>
                <a:gd name="T117" fmla="*/ 426 h 570"/>
                <a:gd name="T118" fmla="*/ 12 w 384"/>
                <a:gd name="T119" fmla="*/ 426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570"/>
                <a:gd name="T182" fmla="*/ 384 w 384"/>
                <a:gd name="T183" fmla="*/ 570 h 57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4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667" y="1897"/>
              <a:ext cx="550" cy="372"/>
            </a:xfrm>
            <a:custGeom>
              <a:avLst/>
              <a:gdLst>
                <a:gd name="T0" fmla="*/ 90 w 648"/>
                <a:gd name="T1" fmla="*/ 174 h 438"/>
                <a:gd name="T2" fmla="*/ 108 w 648"/>
                <a:gd name="T3" fmla="*/ 156 h 438"/>
                <a:gd name="T4" fmla="*/ 126 w 648"/>
                <a:gd name="T5" fmla="*/ 174 h 438"/>
                <a:gd name="T6" fmla="*/ 150 w 648"/>
                <a:gd name="T7" fmla="*/ 162 h 438"/>
                <a:gd name="T8" fmla="*/ 174 w 648"/>
                <a:gd name="T9" fmla="*/ 156 h 438"/>
                <a:gd name="T10" fmla="*/ 228 w 648"/>
                <a:gd name="T11" fmla="*/ 132 h 438"/>
                <a:gd name="T12" fmla="*/ 228 w 648"/>
                <a:gd name="T13" fmla="*/ 108 h 438"/>
                <a:gd name="T14" fmla="*/ 270 w 648"/>
                <a:gd name="T15" fmla="*/ 102 h 438"/>
                <a:gd name="T16" fmla="*/ 300 w 648"/>
                <a:gd name="T17" fmla="*/ 90 h 438"/>
                <a:gd name="T18" fmla="*/ 324 w 648"/>
                <a:gd name="T19" fmla="*/ 72 h 438"/>
                <a:gd name="T20" fmla="*/ 342 w 648"/>
                <a:gd name="T21" fmla="*/ 54 h 438"/>
                <a:gd name="T22" fmla="*/ 366 w 648"/>
                <a:gd name="T23" fmla="*/ 36 h 438"/>
                <a:gd name="T24" fmla="*/ 366 w 648"/>
                <a:gd name="T25" fmla="*/ 12 h 438"/>
                <a:gd name="T26" fmla="*/ 396 w 648"/>
                <a:gd name="T27" fmla="*/ 6 h 438"/>
                <a:gd name="T28" fmla="*/ 420 w 648"/>
                <a:gd name="T29" fmla="*/ 6 h 438"/>
                <a:gd name="T30" fmla="*/ 444 w 648"/>
                <a:gd name="T31" fmla="*/ 30 h 438"/>
                <a:gd name="T32" fmla="*/ 456 w 648"/>
                <a:gd name="T33" fmla="*/ 90 h 438"/>
                <a:gd name="T34" fmla="*/ 456 w 648"/>
                <a:gd name="T35" fmla="*/ 114 h 438"/>
                <a:gd name="T36" fmla="*/ 486 w 648"/>
                <a:gd name="T37" fmla="*/ 114 h 438"/>
                <a:gd name="T38" fmla="*/ 504 w 648"/>
                <a:gd name="T39" fmla="*/ 138 h 438"/>
                <a:gd name="T40" fmla="*/ 528 w 648"/>
                <a:gd name="T41" fmla="*/ 156 h 438"/>
                <a:gd name="T42" fmla="*/ 540 w 648"/>
                <a:gd name="T43" fmla="*/ 180 h 438"/>
                <a:gd name="T44" fmla="*/ 564 w 648"/>
                <a:gd name="T45" fmla="*/ 198 h 438"/>
                <a:gd name="T46" fmla="*/ 594 w 648"/>
                <a:gd name="T47" fmla="*/ 222 h 438"/>
                <a:gd name="T48" fmla="*/ 600 w 648"/>
                <a:gd name="T49" fmla="*/ 252 h 438"/>
                <a:gd name="T50" fmla="*/ 636 w 648"/>
                <a:gd name="T51" fmla="*/ 264 h 438"/>
                <a:gd name="T52" fmla="*/ 648 w 648"/>
                <a:gd name="T53" fmla="*/ 300 h 438"/>
                <a:gd name="T54" fmla="*/ 618 w 648"/>
                <a:gd name="T55" fmla="*/ 300 h 438"/>
                <a:gd name="T56" fmla="*/ 606 w 648"/>
                <a:gd name="T57" fmla="*/ 300 h 438"/>
                <a:gd name="T58" fmla="*/ 588 w 648"/>
                <a:gd name="T59" fmla="*/ 294 h 438"/>
                <a:gd name="T60" fmla="*/ 576 w 648"/>
                <a:gd name="T61" fmla="*/ 294 h 438"/>
                <a:gd name="T62" fmla="*/ 558 w 648"/>
                <a:gd name="T63" fmla="*/ 282 h 438"/>
                <a:gd name="T64" fmla="*/ 540 w 648"/>
                <a:gd name="T65" fmla="*/ 288 h 438"/>
                <a:gd name="T66" fmla="*/ 528 w 648"/>
                <a:gd name="T67" fmla="*/ 300 h 438"/>
                <a:gd name="T68" fmla="*/ 498 w 648"/>
                <a:gd name="T69" fmla="*/ 294 h 438"/>
                <a:gd name="T70" fmla="*/ 486 w 648"/>
                <a:gd name="T71" fmla="*/ 306 h 438"/>
                <a:gd name="T72" fmla="*/ 456 w 648"/>
                <a:gd name="T73" fmla="*/ 312 h 438"/>
                <a:gd name="T74" fmla="*/ 432 w 648"/>
                <a:gd name="T75" fmla="*/ 312 h 438"/>
                <a:gd name="T76" fmla="*/ 414 w 648"/>
                <a:gd name="T77" fmla="*/ 324 h 438"/>
                <a:gd name="T78" fmla="*/ 396 w 648"/>
                <a:gd name="T79" fmla="*/ 342 h 438"/>
                <a:gd name="T80" fmla="*/ 366 w 648"/>
                <a:gd name="T81" fmla="*/ 336 h 438"/>
                <a:gd name="T82" fmla="*/ 324 w 648"/>
                <a:gd name="T83" fmla="*/ 330 h 438"/>
                <a:gd name="T84" fmla="*/ 288 w 648"/>
                <a:gd name="T85" fmla="*/ 312 h 438"/>
                <a:gd name="T86" fmla="*/ 252 w 648"/>
                <a:gd name="T87" fmla="*/ 294 h 438"/>
                <a:gd name="T88" fmla="*/ 222 w 648"/>
                <a:gd name="T89" fmla="*/ 318 h 438"/>
                <a:gd name="T90" fmla="*/ 210 w 648"/>
                <a:gd name="T91" fmla="*/ 348 h 438"/>
                <a:gd name="T92" fmla="*/ 204 w 648"/>
                <a:gd name="T93" fmla="*/ 366 h 438"/>
                <a:gd name="T94" fmla="*/ 168 w 648"/>
                <a:gd name="T95" fmla="*/ 372 h 438"/>
                <a:gd name="T96" fmla="*/ 126 w 648"/>
                <a:gd name="T97" fmla="*/ 372 h 438"/>
                <a:gd name="T98" fmla="*/ 108 w 648"/>
                <a:gd name="T99" fmla="*/ 396 h 438"/>
                <a:gd name="T100" fmla="*/ 84 w 648"/>
                <a:gd name="T101" fmla="*/ 414 h 438"/>
                <a:gd name="T102" fmla="*/ 48 w 648"/>
                <a:gd name="T103" fmla="*/ 372 h 438"/>
                <a:gd name="T104" fmla="*/ 30 w 648"/>
                <a:gd name="T105" fmla="*/ 336 h 438"/>
                <a:gd name="T106" fmla="*/ 12 w 648"/>
                <a:gd name="T107" fmla="*/ 306 h 438"/>
                <a:gd name="T108" fmla="*/ 12 w 648"/>
                <a:gd name="T109" fmla="*/ 270 h 438"/>
                <a:gd name="T110" fmla="*/ 0 w 648"/>
                <a:gd name="T111" fmla="*/ 246 h 438"/>
                <a:gd name="T112" fmla="*/ 30 w 648"/>
                <a:gd name="T113" fmla="*/ 216 h 438"/>
                <a:gd name="T114" fmla="*/ 48 w 648"/>
                <a:gd name="T115" fmla="*/ 180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438"/>
                <a:gd name="T176" fmla="*/ 648 w 648"/>
                <a:gd name="T177" fmla="*/ 438 h 43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5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2172" y="1779"/>
              <a:ext cx="505" cy="403"/>
            </a:xfrm>
            <a:custGeom>
              <a:avLst/>
              <a:gdLst>
                <a:gd name="T0" fmla="*/ 48 w 594"/>
                <a:gd name="T1" fmla="*/ 66 h 474"/>
                <a:gd name="T2" fmla="*/ 90 w 594"/>
                <a:gd name="T3" fmla="*/ 6 h 474"/>
                <a:gd name="T4" fmla="*/ 138 w 594"/>
                <a:gd name="T5" fmla="*/ 0 h 474"/>
                <a:gd name="T6" fmla="*/ 198 w 594"/>
                <a:gd name="T7" fmla="*/ 24 h 474"/>
                <a:gd name="T8" fmla="*/ 246 w 594"/>
                <a:gd name="T9" fmla="*/ 30 h 474"/>
                <a:gd name="T10" fmla="*/ 288 w 594"/>
                <a:gd name="T11" fmla="*/ 36 h 474"/>
                <a:gd name="T12" fmla="*/ 330 w 594"/>
                <a:gd name="T13" fmla="*/ 48 h 474"/>
                <a:gd name="T14" fmla="*/ 372 w 594"/>
                <a:gd name="T15" fmla="*/ 30 h 474"/>
                <a:gd name="T16" fmla="*/ 444 w 594"/>
                <a:gd name="T17" fmla="*/ 24 h 474"/>
                <a:gd name="T18" fmla="*/ 468 w 594"/>
                <a:gd name="T19" fmla="*/ 36 h 474"/>
                <a:gd name="T20" fmla="*/ 492 w 594"/>
                <a:gd name="T21" fmla="*/ 30 h 474"/>
                <a:gd name="T22" fmla="*/ 510 w 594"/>
                <a:gd name="T23" fmla="*/ 18 h 474"/>
                <a:gd name="T24" fmla="*/ 516 w 594"/>
                <a:gd name="T25" fmla="*/ 18 h 474"/>
                <a:gd name="T26" fmla="*/ 534 w 594"/>
                <a:gd name="T27" fmla="*/ 6 h 474"/>
                <a:gd name="T28" fmla="*/ 570 w 594"/>
                <a:gd name="T29" fmla="*/ 72 h 474"/>
                <a:gd name="T30" fmla="*/ 594 w 594"/>
                <a:gd name="T31" fmla="*/ 96 h 474"/>
                <a:gd name="T32" fmla="*/ 588 w 594"/>
                <a:gd name="T33" fmla="*/ 120 h 474"/>
                <a:gd name="T34" fmla="*/ 558 w 594"/>
                <a:gd name="T35" fmla="*/ 132 h 474"/>
                <a:gd name="T36" fmla="*/ 540 w 594"/>
                <a:gd name="T37" fmla="*/ 162 h 474"/>
                <a:gd name="T38" fmla="*/ 522 w 594"/>
                <a:gd name="T39" fmla="*/ 192 h 474"/>
                <a:gd name="T40" fmla="*/ 522 w 594"/>
                <a:gd name="T41" fmla="*/ 210 h 474"/>
                <a:gd name="T42" fmla="*/ 504 w 594"/>
                <a:gd name="T43" fmla="*/ 234 h 474"/>
                <a:gd name="T44" fmla="*/ 492 w 594"/>
                <a:gd name="T45" fmla="*/ 258 h 474"/>
                <a:gd name="T46" fmla="*/ 474 w 594"/>
                <a:gd name="T47" fmla="*/ 288 h 474"/>
                <a:gd name="T48" fmla="*/ 462 w 594"/>
                <a:gd name="T49" fmla="*/ 318 h 474"/>
                <a:gd name="T50" fmla="*/ 444 w 594"/>
                <a:gd name="T51" fmla="*/ 336 h 474"/>
                <a:gd name="T52" fmla="*/ 438 w 594"/>
                <a:gd name="T53" fmla="*/ 354 h 474"/>
                <a:gd name="T54" fmla="*/ 426 w 594"/>
                <a:gd name="T55" fmla="*/ 360 h 474"/>
                <a:gd name="T56" fmla="*/ 402 w 594"/>
                <a:gd name="T57" fmla="*/ 342 h 474"/>
                <a:gd name="T58" fmla="*/ 384 w 594"/>
                <a:gd name="T59" fmla="*/ 342 h 474"/>
                <a:gd name="T60" fmla="*/ 354 w 594"/>
                <a:gd name="T61" fmla="*/ 354 h 474"/>
                <a:gd name="T62" fmla="*/ 348 w 594"/>
                <a:gd name="T63" fmla="*/ 366 h 474"/>
                <a:gd name="T64" fmla="*/ 330 w 594"/>
                <a:gd name="T65" fmla="*/ 378 h 474"/>
                <a:gd name="T66" fmla="*/ 306 w 594"/>
                <a:gd name="T67" fmla="*/ 402 h 474"/>
                <a:gd name="T68" fmla="*/ 300 w 594"/>
                <a:gd name="T69" fmla="*/ 438 h 474"/>
                <a:gd name="T70" fmla="*/ 282 w 594"/>
                <a:gd name="T71" fmla="*/ 450 h 474"/>
                <a:gd name="T72" fmla="*/ 276 w 594"/>
                <a:gd name="T73" fmla="*/ 462 h 474"/>
                <a:gd name="T74" fmla="*/ 240 w 594"/>
                <a:gd name="T75" fmla="*/ 468 h 474"/>
                <a:gd name="T76" fmla="*/ 210 w 594"/>
                <a:gd name="T77" fmla="*/ 468 h 474"/>
                <a:gd name="T78" fmla="*/ 186 w 594"/>
                <a:gd name="T79" fmla="*/ 474 h 474"/>
                <a:gd name="T80" fmla="*/ 150 w 594"/>
                <a:gd name="T81" fmla="*/ 462 h 474"/>
                <a:gd name="T82" fmla="*/ 132 w 594"/>
                <a:gd name="T83" fmla="*/ 426 h 474"/>
                <a:gd name="T84" fmla="*/ 120 w 594"/>
                <a:gd name="T85" fmla="*/ 402 h 474"/>
                <a:gd name="T86" fmla="*/ 78 w 594"/>
                <a:gd name="T87" fmla="*/ 372 h 474"/>
                <a:gd name="T88" fmla="*/ 36 w 594"/>
                <a:gd name="T89" fmla="*/ 372 h 474"/>
                <a:gd name="T90" fmla="*/ 0 w 594"/>
                <a:gd name="T91" fmla="*/ 360 h 474"/>
                <a:gd name="T92" fmla="*/ 6 w 594"/>
                <a:gd name="T93" fmla="*/ 336 h 474"/>
                <a:gd name="T94" fmla="*/ 0 w 594"/>
                <a:gd name="T95" fmla="*/ 312 h 474"/>
                <a:gd name="T96" fmla="*/ 0 w 594"/>
                <a:gd name="T97" fmla="*/ 270 h 474"/>
                <a:gd name="T98" fmla="*/ 6 w 594"/>
                <a:gd name="T99" fmla="*/ 246 h 474"/>
                <a:gd name="T100" fmla="*/ 18 w 594"/>
                <a:gd name="T101" fmla="*/ 228 h 474"/>
                <a:gd name="T102" fmla="*/ 36 w 594"/>
                <a:gd name="T103" fmla="*/ 198 h 474"/>
                <a:gd name="T104" fmla="*/ 42 w 594"/>
                <a:gd name="T105" fmla="*/ 174 h 474"/>
                <a:gd name="T106" fmla="*/ 54 w 594"/>
                <a:gd name="T107" fmla="*/ 150 h 474"/>
                <a:gd name="T108" fmla="*/ 42 w 594"/>
                <a:gd name="T109" fmla="*/ 108 h 4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94"/>
                <a:gd name="T166" fmla="*/ 0 h 474"/>
                <a:gd name="T167" fmla="*/ 594 w 594"/>
                <a:gd name="T168" fmla="*/ 474 h 47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94" h="474">
                  <a:moveTo>
                    <a:pt x="42" y="108"/>
                  </a:move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2" y="18"/>
                  </a:lnTo>
                  <a:lnTo>
                    <a:pt x="90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50" y="0"/>
                  </a:lnTo>
                  <a:lnTo>
                    <a:pt x="168" y="6"/>
                  </a:lnTo>
                  <a:lnTo>
                    <a:pt x="174" y="12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12"/>
                  </a:lnTo>
                  <a:lnTo>
                    <a:pt x="198" y="24"/>
                  </a:lnTo>
                  <a:lnTo>
                    <a:pt x="204" y="36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36"/>
                  </a:lnTo>
                  <a:lnTo>
                    <a:pt x="234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64" y="24"/>
                  </a:lnTo>
                  <a:lnTo>
                    <a:pt x="270" y="30"/>
                  </a:lnTo>
                  <a:lnTo>
                    <a:pt x="276" y="30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84" y="30"/>
                  </a:lnTo>
                  <a:lnTo>
                    <a:pt x="396" y="24"/>
                  </a:lnTo>
                  <a:lnTo>
                    <a:pt x="414" y="24"/>
                  </a:lnTo>
                  <a:lnTo>
                    <a:pt x="420" y="24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2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498" y="24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510" y="18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22" y="18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8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46" y="12"/>
                  </a:lnTo>
                  <a:lnTo>
                    <a:pt x="558" y="24"/>
                  </a:lnTo>
                  <a:lnTo>
                    <a:pt x="564" y="36"/>
                  </a:lnTo>
                  <a:lnTo>
                    <a:pt x="570" y="66"/>
                  </a:lnTo>
                  <a:lnTo>
                    <a:pt x="570" y="72"/>
                  </a:lnTo>
                  <a:lnTo>
                    <a:pt x="576" y="72"/>
                  </a:lnTo>
                  <a:lnTo>
                    <a:pt x="582" y="72"/>
                  </a:lnTo>
                  <a:lnTo>
                    <a:pt x="588" y="72"/>
                  </a:lnTo>
                  <a:lnTo>
                    <a:pt x="588" y="78"/>
                  </a:lnTo>
                  <a:lnTo>
                    <a:pt x="594" y="84"/>
                  </a:lnTo>
                  <a:lnTo>
                    <a:pt x="594" y="90"/>
                  </a:lnTo>
                  <a:lnTo>
                    <a:pt x="594" y="96"/>
                  </a:lnTo>
                  <a:lnTo>
                    <a:pt x="594" y="102"/>
                  </a:lnTo>
                  <a:lnTo>
                    <a:pt x="588" y="102"/>
                  </a:lnTo>
                  <a:lnTo>
                    <a:pt x="588" y="108"/>
                  </a:lnTo>
                  <a:lnTo>
                    <a:pt x="594" y="108"/>
                  </a:lnTo>
                  <a:lnTo>
                    <a:pt x="594" y="114"/>
                  </a:lnTo>
                  <a:lnTo>
                    <a:pt x="588" y="114"/>
                  </a:lnTo>
                  <a:lnTo>
                    <a:pt x="588" y="120"/>
                  </a:lnTo>
                  <a:lnTo>
                    <a:pt x="582" y="120"/>
                  </a:lnTo>
                  <a:lnTo>
                    <a:pt x="576" y="120"/>
                  </a:lnTo>
                  <a:lnTo>
                    <a:pt x="576" y="126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26"/>
                  </a:lnTo>
                  <a:lnTo>
                    <a:pt x="558" y="132"/>
                  </a:lnTo>
                  <a:lnTo>
                    <a:pt x="552" y="132"/>
                  </a:lnTo>
                  <a:lnTo>
                    <a:pt x="552" y="138"/>
                  </a:lnTo>
                  <a:lnTo>
                    <a:pt x="546" y="144"/>
                  </a:lnTo>
                  <a:lnTo>
                    <a:pt x="546" y="150"/>
                  </a:lnTo>
                  <a:lnTo>
                    <a:pt x="540" y="150"/>
                  </a:lnTo>
                  <a:lnTo>
                    <a:pt x="540" y="156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28" y="192"/>
                  </a:lnTo>
                  <a:lnTo>
                    <a:pt x="522" y="192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28" y="204"/>
                  </a:lnTo>
                  <a:lnTo>
                    <a:pt x="522" y="204"/>
                  </a:lnTo>
                  <a:lnTo>
                    <a:pt x="522" y="210"/>
                  </a:lnTo>
                  <a:lnTo>
                    <a:pt x="522" y="216"/>
                  </a:lnTo>
                  <a:lnTo>
                    <a:pt x="516" y="216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04" y="240"/>
                  </a:lnTo>
                  <a:lnTo>
                    <a:pt x="504" y="246"/>
                  </a:lnTo>
                  <a:lnTo>
                    <a:pt x="498" y="246"/>
                  </a:lnTo>
                  <a:lnTo>
                    <a:pt x="504" y="252"/>
                  </a:lnTo>
                  <a:lnTo>
                    <a:pt x="498" y="252"/>
                  </a:lnTo>
                  <a:lnTo>
                    <a:pt x="498" y="258"/>
                  </a:lnTo>
                  <a:lnTo>
                    <a:pt x="492" y="258"/>
                  </a:lnTo>
                  <a:lnTo>
                    <a:pt x="486" y="258"/>
                  </a:lnTo>
                  <a:lnTo>
                    <a:pt x="486" y="264"/>
                  </a:lnTo>
                  <a:lnTo>
                    <a:pt x="480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74" y="294"/>
                  </a:lnTo>
                  <a:lnTo>
                    <a:pt x="468" y="294"/>
                  </a:lnTo>
                  <a:lnTo>
                    <a:pt x="468" y="300"/>
                  </a:lnTo>
                  <a:lnTo>
                    <a:pt x="462" y="300"/>
                  </a:lnTo>
                  <a:lnTo>
                    <a:pt x="462" y="306"/>
                  </a:lnTo>
                  <a:lnTo>
                    <a:pt x="462" y="312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30"/>
                  </a:lnTo>
                  <a:lnTo>
                    <a:pt x="456" y="336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44" y="342"/>
                  </a:lnTo>
                  <a:lnTo>
                    <a:pt x="438" y="342"/>
                  </a:lnTo>
                  <a:lnTo>
                    <a:pt x="438" y="348"/>
                  </a:lnTo>
                  <a:lnTo>
                    <a:pt x="444" y="348"/>
                  </a:lnTo>
                  <a:lnTo>
                    <a:pt x="438" y="348"/>
                  </a:lnTo>
                  <a:lnTo>
                    <a:pt x="444" y="354"/>
                  </a:lnTo>
                  <a:lnTo>
                    <a:pt x="438" y="354"/>
                  </a:lnTo>
                  <a:lnTo>
                    <a:pt x="438" y="360"/>
                  </a:lnTo>
                  <a:lnTo>
                    <a:pt x="432" y="360"/>
                  </a:lnTo>
                  <a:lnTo>
                    <a:pt x="432" y="366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20" y="354"/>
                  </a:lnTo>
                  <a:lnTo>
                    <a:pt x="414" y="354"/>
                  </a:lnTo>
                  <a:lnTo>
                    <a:pt x="408" y="354"/>
                  </a:lnTo>
                  <a:lnTo>
                    <a:pt x="408" y="348"/>
                  </a:lnTo>
                  <a:lnTo>
                    <a:pt x="402" y="348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36"/>
                  </a:lnTo>
                  <a:lnTo>
                    <a:pt x="390" y="336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42"/>
                  </a:lnTo>
                  <a:lnTo>
                    <a:pt x="360" y="342"/>
                  </a:lnTo>
                  <a:lnTo>
                    <a:pt x="360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24" y="384"/>
                  </a:lnTo>
                  <a:lnTo>
                    <a:pt x="318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26"/>
                  </a:lnTo>
                  <a:lnTo>
                    <a:pt x="306" y="432"/>
                  </a:lnTo>
                  <a:lnTo>
                    <a:pt x="300" y="432"/>
                  </a:lnTo>
                  <a:lnTo>
                    <a:pt x="300" y="438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64" y="462"/>
                  </a:lnTo>
                  <a:lnTo>
                    <a:pt x="258" y="462"/>
                  </a:lnTo>
                  <a:lnTo>
                    <a:pt x="252" y="462"/>
                  </a:lnTo>
                  <a:lnTo>
                    <a:pt x="246" y="462"/>
                  </a:lnTo>
                  <a:lnTo>
                    <a:pt x="240" y="462"/>
                  </a:lnTo>
                  <a:lnTo>
                    <a:pt x="240" y="468"/>
                  </a:lnTo>
                  <a:lnTo>
                    <a:pt x="234" y="468"/>
                  </a:lnTo>
                  <a:lnTo>
                    <a:pt x="228" y="468"/>
                  </a:lnTo>
                  <a:lnTo>
                    <a:pt x="222" y="468"/>
                  </a:lnTo>
                  <a:lnTo>
                    <a:pt x="222" y="462"/>
                  </a:lnTo>
                  <a:lnTo>
                    <a:pt x="222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04" y="468"/>
                  </a:lnTo>
                  <a:lnTo>
                    <a:pt x="204" y="474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56"/>
                  </a:lnTo>
                  <a:lnTo>
                    <a:pt x="144" y="450"/>
                  </a:lnTo>
                  <a:lnTo>
                    <a:pt x="138" y="450"/>
                  </a:lnTo>
                  <a:lnTo>
                    <a:pt x="138" y="444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32" y="426"/>
                  </a:lnTo>
                  <a:lnTo>
                    <a:pt x="132" y="420"/>
                  </a:lnTo>
                  <a:lnTo>
                    <a:pt x="126" y="420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6" y="414"/>
                  </a:lnTo>
                  <a:lnTo>
                    <a:pt x="120" y="408"/>
                  </a:lnTo>
                  <a:lnTo>
                    <a:pt x="120" y="402"/>
                  </a:lnTo>
                  <a:lnTo>
                    <a:pt x="114" y="402"/>
                  </a:lnTo>
                  <a:lnTo>
                    <a:pt x="114" y="396"/>
                  </a:lnTo>
                  <a:lnTo>
                    <a:pt x="108" y="390"/>
                  </a:lnTo>
                  <a:lnTo>
                    <a:pt x="102" y="384"/>
                  </a:lnTo>
                  <a:lnTo>
                    <a:pt x="90" y="372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12" y="372"/>
                  </a:lnTo>
                  <a:lnTo>
                    <a:pt x="6" y="372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0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6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2" y="114"/>
                  </a:lnTo>
                  <a:lnTo>
                    <a:pt x="42" y="108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6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2427" y="2264"/>
              <a:ext cx="245" cy="270"/>
            </a:xfrm>
            <a:custGeom>
              <a:avLst/>
              <a:gdLst>
                <a:gd name="T0" fmla="*/ 48 w 288"/>
                <a:gd name="T1" fmla="*/ 108 h 318"/>
                <a:gd name="T2" fmla="*/ 54 w 288"/>
                <a:gd name="T3" fmla="*/ 108 h 318"/>
                <a:gd name="T4" fmla="*/ 42 w 288"/>
                <a:gd name="T5" fmla="*/ 102 h 318"/>
                <a:gd name="T6" fmla="*/ 36 w 288"/>
                <a:gd name="T7" fmla="*/ 84 h 318"/>
                <a:gd name="T8" fmla="*/ 42 w 288"/>
                <a:gd name="T9" fmla="*/ 72 h 318"/>
                <a:gd name="T10" fmla="*/ 60 w 288"/>
                <a:gd name="T11" fmla="*/ 66 h 318"/>
                <a:gd name="T12" fmla="*/ 132 w 288"/>
                <a:gd name="T13" fmla="*/ 12 h 318"/>
                <a:gd name="T14" fmla="*/ 138 w 288"/>
                <a:gd name="T15" fmla="*/ 0 h 318"/>
                <a:gd name="T16" fmla="*/ 144 w 288"/>
                <a:gd name="T17" fmla="*/ 6 h 318"/>
                <a:gd name="T18" fmla="*/ 162 w 288"/>
                <a:gd name="T19" fmla="*/ 6 h 318"/>
                <a:gd name="T20" fmla="*/ 192 w 288"/>
                <a:gd name="T21" fmla="*/ 6 h 318"/>
                <a:gd name="T22" fmla="*/ 222 w 288"/>
                <a:gd name="T23" fmla="*/ 6 h 318"/>
                <a:gd name="T24" fmla="*/ 222 w 288"/>
                <a:gd name="T25" fmla="*/ 24 h 318"/>
                <a:gd name="T26" fmla="*/ 222 w 288"/>
                <a:gd name="T27" fmla="*/ 42 h 318"/>
                <a:gd name="T28" fmla="*/ 240 w 288"/>
                <a:gd name="T29" fmla="*/ 54 h 318"/>
                <a:gd name="T30" fmla="*/ 252 w 288"/>
                <a:gd name="T31" fmla="*/ 48 h 318"/>
                <a:gd name="T32" fmla="*/ 276 w 288"/>
                <a:gd name="T33" fmla="*/ 54 h 318"/>
                <a:gd name="T34" fmla="*/ 282 w 288"/>
                <a:gd name="T35" fmla="*/ 72 h 318"/>
                <a:gd name="T36" fmla="*/ 270 w 288"/>
                <a:gd name="T37" fmla="*/ 90 h 318"/>
                <a:gd name="T38" fmla="*/ 258 w 288"/>
                <a:gd name="T39" fmla="*/ 108 h 318"/>
                <a:gd name="T40" fmla="*/ 258 w 288"/>
                <a:gd name="T41" fmla="*/ 126 h 318"/>
                <a:gd name="T42" fmla="*/ 282 w 288"/>
                <a:gd name="T43" fmla="*/ 138 h 318"/>
                <a:gd name="T44" fmla="*/ 282 w 288"/>
                <a:gd name="T45" fmla="*/ 168 h 318"/>
                <a:gd name="T46" fmla="*/ 288 w 288"/>
                <a:gd name="T47" fmla="*/ 192 h 318"/>
                <a:gd name="T48" fmla="*/ 276 w 288"/>
                <a:gd name="T49" fmla="*/ 216 h 318"/>
                <a:gd name="T50" fmla="*/ 264 w 288"/>
                <a:gd name="T51" fmla="*/ 240 h 318"/>
                <a:gd name="T52" fmla="*/ 252 w 288"/>
                <a:gd name="T53" fmla="*/ 228 h 318"/>
                <a:gd name="T54" fmla="*/ 234 w 288"/>
                <a:gd name="T55" fmla="*/ 240 h 318"/>
                <a:gd name="T56" fmla="*/ 210 w 288"/>
                <a:gd name="T57" fmla="*/ 234 h 318"/>
                <a:gd name="T58" fmla="*/ 204 w 288"/>
                <a:gd name="T59" fmla="*/ 216 h 318"/>
                <a:gd name="T60" fmla="*/ 186 w 288"/>
                <a:gd name="T61" fmla="*/ 222 h 318"/>
                <a:gd name="T62" fmla="*/ 162 w 288"/>
                <a:gd name="T63" fmla="*/ 234 h 318"/>
                <a:gd name="T64" fmla="*/ 144 w 288"/>
                <a:gd name="T65" fmla="*/ 240 h 318"/>
                <a:gd name="T66" fmla="*/ 150 w 288"/>
                <a:gd name="T67" fmla="*/ 258 h 318"/>
                <a:gd name="T68" fmla="*/ 162 w 288"/>
                <a:gd name="T69" fmla="*/ 276 h 318"/>
                <a:gd name="T70" fmla="*/ 156 w 288"/>
                <a:gd name="T71" fmla="*/ 294 h 318"/>
                <a:gd name="T72" fmla="*/ 144 w 288"/>
                <a:gd name="T73" fmla="*/ 300 h 318"/>
                <a:gd name="T74" fmla="*/ 126 w 288"/>
                <a:gd name="T75" fmla="*/ 306 h 318"/>
                <a:gd name="T76" fmla="*/ 114 w 288"/>
                <a:gd name="T77" fmla="*/ 312 h 318"/>
                <a:gd name="T78" fmla="*/ 108 w 288"/>
                <a:gd name="T79" fmla="*/ 294 h 318"/>
                <a:gd name="T80" fmla="*/ 90 w 288"/>
                <a:gd name="T81" fmla="*/ 276 h 318"/>
                <a:gd name="T82" fmla="*/ 72 w 288"/>
                <a:gd name="T83" fmla="*/ 258 h 318"/>
                <a:gd name="T84" fmla="*/ 60 w 288"/>
                <a:gd name="T85" fmla="*/ 252 h 318"/>
                <a:gd name="T86" fmla="*/ 42 w 288"/>
                <a:gd name="T87" fmla="*/ 240 h 318"/>
                <a:gd name="T88" fmla="*/ 30 w 288"/>
                <a:gd name="T89" fmla="*/ 216 h 318"/>
                <a:gd name="T90" fmla="*/ 24 w 288"/>
                <a:gd name="T91" fmla="*/ 192 h 318"/>
                <a:gd name="T92" fmla="*/ 12 w 288"/>
                <a:gd name="T93" fmla="*/ 174 h 318"/>
                <a:gd name="T94" fmla="*/ 6 w 288"/>
                <a:gd name="T95" fmla="*/ 168 h 318"/>
                <a:gd name="T96" fmla="*/ 0 w 288"/>
                <a:gd name="T97" fmla="*/ 156 h 318"/>
                <a:gd name="T98" fmla="*/ 18 w 288"/>
                <a:gd name="T99" fmla="*/ 156 h 318"/>
                <a:gd name="T100" fmla="*/ 24 w 288"/>
                <a:gd name="T101" fmla="*/ 144 h 318"/>
                <a:gd name="T102" fmla="*/ 30 w 288"/>
                <a:gd name="T103" fmla="*/ 120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8"/>
                <a:gd name="T157" fmla="*/ 0 h 318"/>
                <a:gd name="T158" fmla="*/ 288 w 288"/>
                <a:gd name="T159" fmla="*/ 318 h 3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7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2529" y="2208"/>
              <a:ext cx="316" cy="367"/>
            </a:xfrm>
            <a:custGeom>
              <a:avLst/>
              <a:gdLst>
                <a:gd name="T0" fmla="*/ 12 w 372"/>
                <a:gd name="T1" fmla="*/ 360 h 432"/>
                <a:gd name="T2" fmla="*/ 36 w 372"/>
                <a:gd name="T3" fmla="*/ 366 h 432"/>
                <a:gd name="T4" fmla="*/ 36 w 372"/>
                <a:gd name="T5" fmla="*/ 342 h 432"/>
                <a:gd name="T6" fmla="*/ 30 w 372"/>
                <a:gd name="T7" fmla="*/ 324 h 432"/>
                <a:gd name="T8" fmla="*/ 24 w 372"/>
                <a:gd name="T9" fmla="*/ 300 h 432"/>
                <a:gd name="T10" fmla="*/ 66 w 372"/>
                <a:gd name="T11" fmla="*/ 306 h 432"/>
                <a:gd name="T12" fmla="*/ 72 w 372"/>
                <a:gd name="T13" fmla="*/ 276 h 432"/>
                <a:gd name="T14" fmla="*/ 96 w 372"/>
                <a:gd name="T15" fmla="*/ 294 h 432"/>
                <a:gd name="T16" fmla="*/ 114 w 372"/>
                <a:gd name="T17" fmla="*/ 306 h 432"/>
                <a:gd name="T18" fmla="*/ 138 w 372"/>
                <a:gd name="T19" fmla="*/ 294 h 432"/>
                <a:gd name="T20" fmla="*/ 150 w 372"/>
                <a:gd name="T21" fmla="*/ 294 h 432"/>
                <a:gd name="T22" fmla="*/ 162 w 372"/>
                <a:gd name="T23" fmla="*/ 264 h 432"/>
                <a:gd name="T24" fmla="*/ 168 w 372"/>
                <a:gd name="T25" fmla="*/ 246 h 432"/>
                <a:gd name="T26" fmla="*/ 162 w 372"/>
                <a:gd name="T27" fmla="*/ 204 h 432"/>
                <a:gd name="T28" fmla="*/ 138 w 372"/>
                <a:gd name="T29" fmla="*/ 198 h 432"/>
                <a:gd name="T30" fmla="*/ 138 w 372"/>
                <a:gd name="T31" fmla="*/ 162 h 432"/>
                <a:gd name="T32" fmla="*/ 162 w 372"/>
                <a:gd name="T33" fmla="*/ 144 h 432"/>
                <a:gd name="T34" fmla="*/ 156 w 372"/>
                <a:gd name="T35" fmla="*/ 126 h 432"/>
                <a:gd name="T36" fmla="*/ 132 w 372"/>
                <a:gd name="T37" fmla="*/ 114 h 432"/>
                <a:gd name="T38" fmla="*/ 114 w 372"/>
                <a:gd name="T39" fmla="*/ 120 h 432"/>
                <a:gd name="T40" fmla="*/ 96 w 372"/>
                <a:gd name="T41" fmla="*/ 102 h 432"/>
                <a:gd name="T42" fmla="*/ 108 w 372"/>
                <a:gd name="T43" fmla="*/ 78 h 432"/>
                <a:gd name="T44" fmla="*/ 174 w 372"/>
                <a:gd name="T45" fmla="*/ 72 h 432"/>
                <a:gd name="T46" fmla="*/ 186 w 372"/>
                <a:gd name="T47" fmla="*/ 84 h 432"/>
                <a:gd name="T48" fmla="*/ 210 w 372"/>
                <a:gd name="T49" fmla="*/ 90 h 432"/>
                <a:gd name="T50" fmla="*/ 234 w 372"/>
                <a:gd name="T51" fmla="*/ 90 h 432"/>
                <a:gd name="T52" fmla="*/ 246 w 372"/>
                <a:gd name="T53" fmla="*/ 90 h 432"/>
                <a:gd name="T54" fmla="*/ 252 w 372"/>
                <a:gd name="T55" fmla="*/ 72 h 432"/>
                <a:gd name="T56" fmla="*/ 270 w 372"/>
                <a:gd name="T57" fmla="*/ 24 h 432"/>
                <a:gd name="T58" fmla="*/ 294 w 372"/>
                <a:gd name="T59" fmla="*/ 6 h 432"/>
                <a:gd name="T60" fmla="*/ 330 w 372"/>
                <a:gd name="T61" fmla="*/ 0 h 432"/>
                <a:gd name="T62" fmla="*/ 354 w 372"/>
                <a:gd name="T63" fmla="*/ 12 h 432"/>
                <a:gd name="T64" fmla="*/ 372 w 372"/>
                <a:gd name="T65" fmla="*/ 18 h 432"/>
                <a:gd name="T66" fmla="*/ 360 w 372"/>
                <a:gd name="T67" fmla="*/ 42 h 432"/>
                <a:gd name="T68" fmla="*/ 342 w 372"/>
                <a:gd name="T69" fmla="*/ 72 h 432"/>
                <a:gd name="T70" fmla="*/ 342 w 372"/>
                <a:gd name="T71" fmla="*/ 108 h 432"/>
                <a:gd name="T72" fmla="*/ 330 w 372"/>
                <a:gd name="T73" fmla="*/ 132 h 432"/>
                <a:gd name="T74" fmla="*/ 336 w 372"/>
                <a:gd name="T75" fmla="*/ 168 h 432"/>
                <a:gd name="T76" fmla="*/ 324 w 372"/>
                <a:gd name="T77" fmla="*/ 192 h 432"/>
                <a:gd name="T78" fmla="*/ 318 w 372"/>
                <a:gd name="T79" fmla="*/ 222 h 432"/>
                <a:gd name="T80" fmla="*/ 288 w 372"/>
                <a:gd name="T81" fmla="*/ 240 h 432"/>
                <a:gd name="T82" fmla="*/ 270 w 372"/>
                <a:gd name="T83" fmla="*/ 276 h 432"/>
                <a:gd name="T84" fmla="*/ 252 w 372"/>
                <a:gd name="T85" fmla="*/ 300 h 432"/>
                <a:gd name="T86" fmla="*/ 252 w 372"/>
                <a:gd name="T87" fmla="*/ 336 h 432"/>
                <a:gd name="T88" fmla="*/ 240 w 372"/>
                <a:gd name="T89" fmla="*/ 372 h 432"/>
                <a:gd name="T90" fmla="*/ 216 w 372"/>
                <a:gd name="T91" fmla="*/ 390 h 432"/>
                <a:gd name="T92" fmla="*/ 192 w 372"/>
                <a:gd name="T93" fmla="*/ 408 h 432"/>
                <a:gd name="T94" fmla="*/ 174 w 372"/>
                <a:gd name="T95" fmla="*/ 426 h 432"/>
                <a:gd name="T96" fmla="*/ 156 w 372"/>
                <a:gd name="T97" fmla="*/ 408 h 432"/>
                <a:gd name="T98" fmla="*/ 156 w 372"/>
                <a:gd name="T99" fmla="*/ 396 h 432"/>
                <a:gd name="T100" fmla="*/ 132 w 372"/>
                <a:gd name="T101" fmla="*/ 408 h 432"/>
                <a:gd name="T102" fmla="*/ 120 w 372"/>
                <a:gd name="T103" fmla="*/ 420 h 432"/>
                <a:gd name="T104" fmla="*/ 96 w 372"/>
                <a:gd name="T105" fmla="*/ 414 h 432"/>
                <a:gd name="T106" fmla="*/ 78 w 372"/>
                <a:gd name="T107" fmla="*/ 408 h 432"/>
                <a:gd name="T108" fmla="*/ 48 w 372"/>
                <a:gd name="T109" fmla="*/ 426 h 432"/>
                <a:gd name="T110" fmla="*/ 30 w 372"/>
                <a:gd name="T111" fmla="*/ 414 h 432"/>
                <a:gd name="T112" fmla="*/ 12 w 372"/>
                <a:gd name="T113" fmla="*/ 396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2"/>
                <a:gd name="T172" fmla="*/ 0 h 432"/>
                <a:gd name="T173" fmla="*/ 372 w 372"/>
                <a:gd name="T174" fmla="*/ 432 h 4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8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2453" y="2264"/>
              <a:ext cx="81" cy="61"/>
            </a:xfrm>
            <a:custGeom>
              <a:avLst/>
              <a:gdLst>
                <a:gd name="T0" fmla="*/ 24 w 96"/>
                <a:gd name="T1" fmla="*/ 0 h 72"/>
                <a:gd name="T2" fmla="*/ 24 w 96"/>
                <a:gd name="T3" fmla="*/ 6 h 72"/>
                <a:gd name="T4" fmla="*/ 30 w 96"/>
                <a:gd name="T5" fmla="*/ 6 h 72"/>
                <a:gd name="T6" fmla="*/ 30 w 96"/>
                <a:gd name="T7" fmla="*/ 12 h 72"/>
                <a:gd name="T8" fmla="*/ 36 w 96"/>
                <a:gd name="T9" fmla="*/ 12 h 72"/>
                <a:gd name="T10" fmla="*/ 36 w 96"/>
                <a:gd name="T11" fmla="*/ 6 h 72"/>
                <a:gd name="T12" fmla="*/ 36 w 96"/>
                <a:gd name="T13" fmla="*/ 12 h 72"/>
                <a:gd name="T14" fmla="*/ 42 w 96"/>
                <a:gd name="T15" fmla="*/ 12 h 72"/>
                <a:gd name="T16" fmla="*/ 90 w 96"/>
                <a:gd name="T17" fmla="*/ 12 h 72"/>
                <a:gd name="T18" fmla="*/ 90 w 96"/>
                <a:gd name="T19" fmla="*/ 6 h 72"/>
                <a:gd name="T20" fmla="*/ 96 w 96"/>
                <a:gd name="T21" fmla="*/ 12 h 72"/>
                <a:gd name="T22" fmla="*/ 96 w 96"/>
                <a:gd name="T23" fmla="*/ 66 h 72"/>
                <a:gd name="T24" fmla="*/ 90 w 96"/>
                <a:gd name="T25" fmla="*/ 66 h 72"/>
                <a:gd name="T26" fmla="*/ 84 w 96"/>
                <a:gd name="T27" fmla="*/ 66 h 72"/>
                <a:gd name="T28" fmla="*/ 30 w 96"/>
                <a:gd name="T29" fmla="*/ 66 h 72"/>
                <a:gd name="T30" fmla="*/ 30 w 96"/>
                <a:gd name="T31" fmla="*/ 72 h 72"/>
                <a:gd name="T32" fmla="*/ 24 w 96"/>
                <a:gd name="T33" fmla="*/ 66 h 72"/>
                <a:gd name="T34" fmla="*/ 18 w 96"/>
                <a:gd name="T35" fmla="*/ 66 h 72"/>
                <a:gd name="T36" fmla="*/ 12 w 96"/>
                <a:gd name="T37" fmla="*/ 66 h 72"/>
                <a:gd name="T38" fmla="*/ 12 w 96"/>
                <a:gd name="T39" fmla="*/ 60 h 72"/>
                <a:gd name="T40" fmla="*/ 6 w 96"/>
                <a:gd name="T41" fmla="*/ 60 h 72"/>
                <a:gd name="T42" fmla="*/ 0 w 96"/>
                <a:gd name="T43" fmla="*/ 60 h 72"/>
                <a:gd name="T44" fmla="*/ 0 w 96"/>
                <a:gd name="T45" fmla="*/ 54 h 72"/>
                <a:gd name="T46" fmla="*/ 6 w 96"/>
                <a:gd name="T47" fmla="*/ 54 h 72"/>
                <a:gd name="T48" fmla="*/ 6 w 96"/>
                <a:gd name="T49" fmla="*/ 48 h 72"/>
                <a:gd name="T50" fmla="*/ 12 w 96"/>
                <a:gd name="T51" fmla="*/ 42 h 72"/>
                <a:gd name="T52" fmla="*/ 12 w 96"/>
                <a:gd name="T53" fmla="*/ 48 h 72"/>
                <a:gd name="T54" fmla="*/ 12 w 96"/>
                <a:gd name="T55" fmla="*/ 42 h 72"/>
                <a:gd name="T56" fmla="*/ 12 w 96"/>
                <a:gd name="T57" fmla="*/ 36 h 72"/>
                <a:gd name="T58" fmla="*/ 18 w 96"/>
                <a:gd name="T59" fmla="*/ 30 h 72"/>
                <a:gd name="T60" fmla="*/ 18 w 96"/>
                <a:gd name="T61" fmla="*/ 24 h 72"/>
                <a:gd name="T62" fmla="*/ 24 w 96"/>
                <a:gd name="T63" fmla="*/ 24 h 72"/>
                <a:gd name="T64" fmla="*/ 18 w 96"/>
                <a:gd name="T65" fmla="*/ 12 h 72"/>
                <a:gd name="T66" fmla="*/ 24 w 96"/>
                <a:gd name="T67" fmla="*/ 12 h 72"/>
                <a:gd name="T68" fmla="*/ 24 w 96"/>
                <a:gd name="T69" fmla="*/ 6 h 72"/>
                <a:gd name="T70" fmla="*/ 24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6"/>
                <a:gd name="T109" fmla="*/ 0 h 72"/>
                <a:gd name="T110" fmla="*/ 96 w 96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9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346" y="1779"/>
              <a:ext cx="128" cy="31"/>
            </a:xfrm>
            <a:custGeom>
              <a:avLst/>
              <a:gdLst>
                <a:gd name="T0" fmla="*/ 54 w 150"/>
                <a:gd name="T1" fmla="*/ 12 h 36"/>
                <a:gd name="T2" fmla="*/ 72 w 150"/>
                <a:gd name="T3" fmla="*/ 6 h 36"/>
                <a:gd name="T4" fmla="*/ 78 w 150"/>
                <a:gd name="T5" fmla="*/ 0 h 36"/>
                <a:gd name="T6" fmla="*/ 84 w 150"/>
                <a:gd name="T7" fmla="*/ 6 h 36"/>
                <a:gd name="T8" fmla="*/ 90 w 150"/>
                <a:gd name="T9" fmla="*/ 0 h 36"/>
                <a:gd name="T10" fmla="*/ 102 w 150"/>
                <a:gd name="T11" fmla="*/ 6 h 36"/>
                <a:gd name="T12" fmla="*/ 108 w 150"/>
                <a:gd name="T13" fmla="*/ 12 h 36"/>
                <a:gd name="T14" fmla="*/ 120 w 150"/>
                <a:gd name="T15" fmla="*/ 12 h 36"/>
                <a:gd name="T16" fmla="*/ 126 w 150"/>
                <a:gd name="T17" fmla="*/ 18 h 36"/>
                <a:gd name="T18" fmla="*/ 138 w 150"/>
                <a:gd name="T19" fmla="*/ 12 h 36"/>
                <a:gd name="T20" fmla="*/ 150 w 150"/>
                <a:gd name="T21" fmla="*/ 18 h 36"/>
                <a:gd name="T22" fmla="*/ 144 w 150"/>
                <a:gd name="T23" fmla="*/ 24 h 36"/>
                <a:gd name="T24" fmla="*/ 138 w 150"/>
                <a:gd name="T25" fmla="*/ 30 h 36"/>
                <a:gd name="T26" fmla="*/ 126 w 150"/>
                <a:gd name="T27" fmla="*/ 30 h 36"/>
                <a:gd name="T28" fmla="*/ 120 w 150"/>
                <a:gd name="T29" fmla="*/ 24 h 36"/>
                <a:gd name="T30" fmla="*/ 108 w 150"/>
                <a:gd name="T31" fmla="*/ 24 h 36"/>
                <a:gd name="T32" fmla="*/ 102 w 150"/>
                <a:gd name="T33" fmla="*/ 18 h 36"/>
                <a:gd name="T34" fmla="*/ 90 w 150"/>
                <a:gd name="T35" fmla="*/ 18 h 36"/>
                <a:gd name="T36" fmla="*/ 84 w 150"/>
                <a:gd name="T37" fmla="*/ 12 h 36"/>
                <a:gd name="T38" fmla="*/ 84 w 150"/>
                <a:gd name="T39" fmla="*/ 24 h 36"/>
                <a:gd name="T40" fmla="*/ 72 w 150"/>
                <a:gd name="T41" fmla="*/ 24 h 36"/>
                <a:gd name="T42" fmla="*/ 60 w 150"/>
                <a:gd name="T43" fmla="*/ 24 h 36"/>
                <a:gd name="T44" fmla="*/ 54 w 150"/>
                <a:gd name="T45" fmla="*/ 36 h 36"/>
                <a:gd name="T46" fmla="*/ 24 w 150"/>
                <a:gd name="T47" fmla="*/ 36 h 36"/>
                <a:gd name="T48" fmla="*/ 6 w 150"/>
                <a:gd name="T49" fmla="*/ 30 h 36"/>
                <a:gd name="T50" fmla="*/ 0 w 150"/>
                <a:gd name="T51" fmla="*/ 24 h 36"/>
                <a:gd name="T52" fmla="*/ 6 w 150"/>
                <a:gd name="T53" fmla="*/ 18 h 36"/>
                <a:gd name="T54" fmla="*/ 12 w 150"/>
                <a:gd name="T55" fmla="*/ 24 h 36"/>
                <a:gd name="T56" fmla="*/ 24 w 150"/>
                <a:gd name="T57" fmla="*/ 30 h 36"/>
                <a:gd name="T58" fmla="*/ 36 w 150"/>
                <a:gd name="T59" fmla="*/ 24 h 36"/>
                <a:gd name="T60" fmla="*/ 36 w 150"/>
                <a:gd name="T61" fmla="*/ 24 h 36"/>
                <a:gd name="T62" fmla="*/ 42 w 150"/>
                <a:gd name="T63" fmla="*/ 18 h 36"/>
                <a:gd name="T64" fmla="*/ 42 w 150"/>
                <a:gd name="T65" fmla="*/ 18 h 36"/>
                <a:gd name="T66" fmla="*/ 54 w 150"/>
                <a:gd name="T67" fmla="*/ 18 h 36"/>
                <a:gd name="T68" fmla="*/ 66 w 150"/>
                <a:gd name="T69" fmla="*/ 18 h 36"/>
                <a:gd name="T70" fmla="*/ 54 w 150"/>
                <a:gd name="T71" fmla="*/ 18 h 36"/>
                <a:gd name="T72" fmla="*/ 42 w 150"/>
                <a:gd name="T73" fmla="*/ 18 h 36"/>
                <a:gd name="T74" fmla="*/ 30 w 150"/>
                <a:gd name="T75" fmla="*/ 24 h 36"/>
                <a:gd name="T76" fmla="*/ 18 w 150"/>
                <a:gd name="T77" fmla="*/ 24 h 36"/>
                <a:gd name="T78" fmla="*/ 18 w 150"/>
                <a:gd name="T79" fmla="*/ 12 h 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36"/>
                <a:gd name="T122" fmla="*/ 150 w 150"/>
                <a:gd name="T123" fmla="*/ 36 h 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36">
                  <a:moveTo>
                    <a:pt x="18" y="12"/>
                  </a:moveTo>
                  <a:lnTo>
                    <a:pt x="54" y="12"/>
                  </a:lnTo>
                  <a:lnTo>
                    <a:pt x="66" y="12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6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30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351" y="1830"/>
              <a:ext cx="133" cy="72"/>
            </a:xfrm>
            <a:custGeom>
              <a:avLst/>
              <a:gdLst>
                <a:gd name="T0" fmla="*/ 12 w 156"/>
                <a:gd name="T1" fmla="*/ 12 h 84"/>
                <a:gd name="T2" fmla="*/ 30 w 156"/>
                <a:gd name="T3" fmla="*/ 6 h 84"/>
                <a:gd name="T4" fmla="*/ 54 w 156"/>
                <a:gd name="T5" fmla="*/ 12 h 84"/>
                <a:gd name="T6" fmla="*/ 72 w 156"/>
                <a:gd name="T7" fmla="*/ 0 h 84"/>
                <a:gd name="T8" fmla="*/ 96 w 156"/>
                <a:gd name="T9" fmla="*/ 0 h 84"/>
                <a:gd name="T10" fmla="*/ 156 w 156"/>
                <a:gd name="T11" fmla="*/ 6 h 84"/>
                <a:gd name="T12" fmla="*/ 150 w 156"/>
                <a:gd name="T13" fmla="*/ 18 h 84"/>
                <a:gd name="T14" fmla="*/ 138 w 156"/>
                <a:gd name="T15" fmla="*/ 24 h 84"/>
                <a:gd name="T16" fmla="*/ 150 w 156"/>
                <a:gd name="T17" fmla="*/ 30 h 84"/>
                <a:gd name="T18" fmla="*/ 150 w 156"/>
                <a:gd name="T19" fmla="*/ 48 h 84"/>
                <a:gd name="T20" fmla="*/ 144 w 156"/>
                <a:gd name="T21" fmla="*/ 48 h 84"/>
                <a:gd name="T22" fmla="*/ 126 w 156"/>
                <a:gd name="T23" fmla="*/ 48 h 84"/>
                <a:gd name="T24" fmla="*/ 102 w 156"/>
                <a:gd name="T25" fmla="*/ 54 h 84"/>
                <a:gd name="T26" fmla="*/ 96 w 156"/>
                <a:gd name="T27" fmla="*/ 66 h 84"/>
                <a:gd name="T28" fmla="*/ 84 w 156"/>
                <a:gd name="T29" fmla="*/ 84 h 84"/>
                <a:gd name="T30" fmla="*/ 84 w 156"/>
                <a:gd name="T31" fmla="*/ 72 h 84"/>
                <a:gd name="T32" fmla="*/ 78 w 156"/>
                <a:gd name="T33" fmla="*/ 72 h 84"/>
                <a:gd name="T34" fmla="*/ 72 w 156"/>
                <a:gd name="T35" fmla="*/ 72 h 84"/>
                <a:gd name="T36" fmla="*/ 66 w 156"/>
                <a:gd name="T37" fmla="*/ 72 h 84"/>
                <a:gd name="T38" fmla="*/ 72 w 156"/>
                <a:gd name="T39" fmla="*/ 60 h 84"/>
                <a:gd name="T40" fmla="*/ 60 w 156"/>
                <a:gd name="T41" fmla="*/ 66 h 84"/>
                <a:gd name="T42" fmla="*/ 60 w 156"/>
                <a:gd name="T43" fmla="*/ 60 h 84"/>
                <a:gd name="T44" fmla="*/ 66 w 156"/>
                <a:gd name="T45" fmla="*/ 54 h 84"/>
                <a:gd name="T46" fmla="*/ 72 w 156"/>
                <a:gd name="T47" fmla="*/ 54 h 84"/>
                <a:gd name="T48" fmla="*/ 78 w 156"/>
                <a:gd name="T49" fmla="*/ 54 h 84"/>
                <a:gd name="T50" fmla="*/ 78 w 156"/>
                <a:gd name="T51" fmla="*/ 48 h 84"/>
                <a:gd name="T52" fmla="*/ 78 w 156"/>
                <a:gd name="T53" fmla="*/ 54 h 84"/>
                <a:gd name="T54" fmla="*/ 84 w 156"/>
                <a:gd name="T55" fmla="*/ 54 h 84"/>
                <a:gd name="T56" fmla="*/ 84 w 156"/>
                <a:gd name="T57" fmla="*/ 48 h 84"/>
                <a:gd name="T58" fmla="*/ 78 w 156"/>
                <a:gd name="T59" fmla="*/ 48 h 84"/>
                <a:gd name="T60" fmla="*/ 72 w 156"/>
                <a:gd name="T61" fmla="*/ 48 h 84"/>
                <a:gd name="T62" fmla="*/ 78 w 156"/>
                <a:gd name="T63" fmla="*/ 48 h 84"/>
                <a:gd name="T64" fmla="*/ 78 w 156"/>
                <a:gd name="T65" fmla="*/ 42 h 84"/>
                <a:gd name="T66" fmla="*/ 72 w 156"/>
                <a:gd name="T67" fmla="*/ 48 h 84"/>
                <a:gd name="T68" fmla="*/ 66 w 156"/>
                <a:gd name="T69" fmla="*/ 48 h 84"/>
                <a:gd name="T70" fmla="*/ 66 w 156"/>
                <a:gd name="T71" fmla="*/ 48 h 84"/>
                <a:gd name="T72" fmla="*/ 60 w 156"/>
                <a:gd name="T73" fmla="*/ 48 h 84"/>
                <a:gd name="T74" fmla="*/ 66 w 156"/>
                <a:gd name="T75" fmla="*/ 36 h 84"/>
                <a:gd name="T76" fmla="*/ 84 w 156"/>
                <a:gd name="T77" fmla="*/ 36 h 84"/>
                <a:gd name="T78" fmla="*/ 78 w 156"/>
                <a:gd name="T79" fmla="*/ 36 h 84"/>
                <a:gd name="T80" fmla="*/ 66 w 156"/>
                <a:gd name="T81" fmla="*/ 36 h 84"/>
                <a:gd name="T82" fmla="*/ 48 w 156"/>
                <a:gd name="T83" fmla="*/ 42 h 84"/>
                <a:gd name="T84" fmla="*/ 42 w 156"/>
                <a:gd name="T85" fmla="*/ 42 h 84"/>
                <a:gd name="T86" fmla="*/ 30 w 156"/>
                <a:gd name="T87" fmla="*/ 36 h 84"/>
                <a:gd name="T88" fmla="*/ 18 w 156"/>
                <a:gd name="T89" fmla="*/ 30 h 84"/>
                <a:gd name="T90" fmla="*/ 24 w 156"/>
                <a:gd name="T91" fmla="*/ 18 h 84"/>
                <a:gd name="T92" fmla="*/ 18 w 156"/>
                <a:gd name="T93" fmla="*/ 24 h 84"/>
                <a:gd name="T94" fmla="*/ 6 w 156"/>
                <a:gd name="T95" fmla="*/ 18 h 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"/>
                <a:gd name="T145" fmla="*/ 0 h 84"/>
                <a:gd name="T146" fmla="*/ 156 w 156"/>
                <a:gd name="T147" fmla="*/ 84 h 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" h="84">
                  <a:moveTo>
                    <a:pt x="0" y="12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6" y="54"/>
                  </a:lnTo>
                  <a:lnTo>
                    <a:pt x="66" y="60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3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2575" y="2136"/>
              <a:ext cx="806" cy="796"/>
            </a:xfrm>
            <a:custGeom>
              <a:avLst/>
              <a:gdLst>
                <a:gd name="T0" fmla="*/ 36 w 948"/>
                <a:gd name="T1" fmla="*/ 504 h 936"/>
                <a:gd name="T2" fmla="*/ 78 w 948"/>
                <a:gd name="T3" fmla="*/ 486 h 936"/>
                <a:gd name="T4" fmla="*/ 102 w 948"/>
                <a:gd name="T5" fmla="*/ 492 h 936"/>
                <a:gd name="T6" fmla="*/ 144 w 948"/>
                <a:gd name="T7" fmla="*/ 492 h 936"/>
                <a:gd name="T8" fmla="*/ 192 w 948"/>
                <a:gd name="T9" fmla="*/ 438 h 936"/>
                <a:gd name="T10" fmla="*/ 204 w 948"/>
                <a:gd name="T11" fmla="*/ 372 h 936"/>
                <a:gd name="T12" fmla="*/ 252 w 948"/>
                <a:gd name="T13" fmla="*/ 318 h 936"/>
                <a:gd name="T14" fmla="*/ 276 w 948"/>
                <a:gd name="T15" fmla="*/ 252 h 936"/>
                <a:gd name="T16" fmla="*/ 288 w 948"/>
                <a:gd name="T17" fmla="*/ 192 h 936"/>
                <a:gd name="T18" fmla="*/ 306 w 948"/>
                <a:gd name="T19" fmla="*/ 120 h 936"/>
                <a:gd name="T20" fmla="*/ 318 w 948"/>
                <a:gd name="T21" fmla="*/ 60 h 936"/>
                <a:gd name="T22" fmla="*/ 354 w 948"/>
                <a:gd name="T23" fmla="*/ 18 h 936"/>
                <a:gd name="T24" fmla="*/ 408 w 948"/>
                <a:gd name="T25" fmla="*/ 36 h 936"/>
                <a:gd name="T26" fmla="*/ 474 w 948"/>
                <a:gd name="T27" fmla="*/ 54 h 936"/>
                <a:gd name="T28" fmla="*/ 516 w 948"/>
                <a:gd name="T29" fmla="*/ 42 h 936"/>
                <a:gd name="T30" fmla="*/ 546 w 948"/>
                <a:gd name="T31" fmla="*/ 36 h 936"/>
                <a:gd name="T32" fmla="*/ 594 w 948"/>
                <a:gd name="T33" fmla="*/ 18 h 936"/>
                <a:gd name="T34" fmla="*/ 618 w 948"/>
                <a:gd name="T35" fmla="*/ 24 h 936"/>
                <a:gd name="T36" fmla="*/ 654 w 948"/>
                <a:gd name="T37" fmla="*/ 6 h 936"/>
                <a:gd name="T38" fmla="*/ 678 w 948"/>
                <a:gd name="T39" fmla="*/ 12 h 936"/>
                <a:gd name="T40" fmla="*/ 708 w 948"/>
                <a:gd name="T41" fmla="*/ 18 h 936"/>
                <a:gd name="T42" fmla="*/ 726 w 948"/>
                <a:gd name="T43" fmla="*/ 18 h 936"/>
                <a:gd name="T44" fmla="*/ 774 w 948"/>
                <a:gd name="T45" fmla="*/ 36 h 936"/>
                <a:gd name="T46" fmla="*/ 810 w 948"/>
                <a:gd name="T47" fmla="*/ 54 h 936"/>
                <a:gd name="T48" fmla="*/ 834 w 948"/>
                <a:gd name="T49" fmla="*/ 48 h 936"/>
                <a:gd name="T50" fmla="*/ 870 w 948"/>
                <a:gd name="T51" fmla="*/ 42 h 936"/>
                <a:gd name="T52" fmla="*/ 912 w 948"/>
                <a:gd name="T53" fmla="*/ 90 h 936"/>
                <a:gd name="T54" fmla="*/ 924 w 948"/>
                <a:gd name="T55" fmla="*/ 120 h 936"/>
                <a:gd name="T56" fmla="*/ 936 w 948"/>
                <a:gd name="T57" fmla="*/ 174 h 936"/>
                <a:gd name="T58" fmla="*/ 876 w 948"/>
                <a:gd name="T59" fmla="*/ 246 h 936"/>
                <a:gd name="T60" fmla="*/ 858 w 948"/>
                <a:gd name="T61" fmla="*/ 324 h 936"/>
                <a:gd name="T62" fmla="*/ 840 w 948"/>
                <a:gd name="T63" fmla="*/ 366 h 936"/>
                <a:gd name="T64" fmla="*/ 840 w 948"/>
                <a:gd name="T65" fmla="*/ 420 h 936"/>
                <a:gd name="T66" fmla="*/ 846 w 948"/>
                <a:gd name="T67" fmla="*/ 456 h 936"/>
                <a:gd name="T68" fmla="*/ 858 w 948"/>
                <a:gd name="T69" fmla="*/ 534 h 936"/>
                <a:gd name="T70" fmla="*/ 888 w 948"/>
                <a:gd name="T71" fmla="*/ 612 h 936"/>
                <a:gd name="T72" fmla="*/ 882 w 948"/>
                <a:gd name="T73" fmla="*/ 678 h 936"/>
                <a:gd name="T74" fmla="*/ 804 w 948"/>
                <a:gd name="T75" fmla="*/ 738 h 936"/>
                <a:gd name="T76" fmla="*/ 816 w 948"/>
                <a:gd name="T77" fmla="*/ 774 h 936"/>
                <a:gd name="T78" fmla="*/ 810 w 948"/>
                <a:gd name="T79" fmla="*/ 822 h 936"/>
                <a:gd name="T80" fmla="*/ 822 w 948"/>
                <a:gd name="T81" fmla="*/ 870 h 936"/>
                <a:gd name="T82" fmla="*/ 870 w 948"/>
                <a:gd name="T83" fmla="*/ 870 h 936"/>
                <a:gd name="T84" fmla="*/ 834 w 948"/>
                <a:gd name="T85" fmla="*/ 930 h 936"/>
                <a:gd name="T86" fmla="*/ 804 w 948"/>
                <a:gd name="T87" fmla="*/ 888 h 936"/>
                <a:gd name="T88" fmla="*/ 750 w 948"/>
                <a:gd name="T89" fmla="*/ 858 h 936"/>
                <a:gd name="T90" fmla="*/ 708 w 948"/>
                <a:gd name="T91" fmla="*/ 864 h 936"/>
                <a:gd name="T92" fmla="*/ 660 w 948"/>
                <a:gd name="T93" fmla="*/ 846 h 936"/>
                <a:gd name="T94" fmla="*/ 612 w 948"/>
                <a:gd name="T95" fmla="*/ 834 h 936"/>
                <a:gd name="T96" fmla="*/ 582 w 948"/>
                <a:gd name="T97" fmla="*/ 810 h 936"/>
                <a:gd name="T98" fmla="*/ 528 w 948"/>
                <a:gd name="T99" fmla="*/ 816 h 936"/>
                <a:gd name="T100" fmla="*/ 498 w 948"/>
                <a:gd name="T101" fmla="*/ 804 h 936"/>
                <a:gd name="T102" fmla="*/ 480 w 948"/>
                <a:gd name="T103" fmla="*/ 750 h 936"/>
                <a:gd name="T104" fmla="*/ 480 w 948"/>
                <a:gd name="T105" fmla="*/ 690 h 936"/>
                <a:gd name="T106" fmla="*/ 480 w 948"/>
                <a:gd name="T107" fmla="*/ 636 h 936"/>
                <a:gd name="T108" fmla="*/ 360 w 948"/>
                <a:gd name="T109" fmla="*/ 624 h 936"/>
                <a:gd name="T110" fmla="*/ 306 w 948"/>
                <a:gd name="T111" fmla="*/ 666 h 936"/>
                <a:gd name="T112" fmla="*/ 258 w 948"/>
                <a:gd name="T113" fmla="*/ 654 h 936"/>
                <a:gd name="T114" fmla="*/ 228 w 948"/>
                <a:gd name="T115" fmla="*/ 606 h 936"/>
                <a:gd name="T116" fmla="*/ 180 w 948"/>
                <a:gd name="T117" fmla="*/ 558 h 936"/>
                <a:gd name="T118" fmla="*/ 78 w 948"/>
                <a:gd name="T119" fmla="*/ 558 h 936"/>
                <a:gd name="T120" fmla="*/ 12 w 948"/>
                <a:gd name="T121" fmla="*/ 570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8"/>
                <a:gd name="T184" fmla="*/ 0 h 936"/>
                <a:gd name="T185" fmla="*/ 948 w 948"/>
                <a:gd name="T186" fmla="*/ 936 h 9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3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2978" y="1387"/>
              <a:ext cx="709" cy="831"/>
            </a:xfrm>
            <a:custGeom>
              <a:avLst/>
              <a:gdLst>
                <a:gd name="T0" fmla="*/ 480 w 834"/>
                <a:gd name="T1" fmla="*/ 54 h 978"/>
                <a:gd name="T2" fmla="*/ 690 w 834"/>
                <a:gd name="T3" fmla="*/ 0 h 978"/>
                <a:gd name="T4" fmla="*/ 696 w 834"/>
                <a:gd name="T5" fmla="*/ 18 h 978"/>
                <a:gd name="T6" fmla="*/ 738 w 834"/>
                <a:gd name="T7" fmla="*/ 48 h 978"/>
                <a:gd name="T8" fmla="*/ 750 w 834"/>
                <a:gd name="T9" fmla="*/ 84 h 978"/>
                <a:gd name="T10" fmla="*/ 768 w 834"/>
                <a:gd name="T11" fmla="*/ 102 h 978"/>
                <a:gd name="T12" fmla="*/ 762 w 834"/>
                <a:gd name="T13" fmla="*/ 132 h 978"/>
                <a:gd name="T14" fmla="*/ 768 w 834"/>
                <a:gd name="T15" fmla="*/ 156 h 978"/>
                <a:gd name="T16" fmla="*/ 774 w 834"/>
                <a:gd name="T17" fmla="*/ 192 h 978"/>
                <a:gd name="T18" fmla="*/ 780 w 834"/>
                <a:gd name="T19" fmla="*/ 222 h 978"/>
                <a:gd name="T20" fmla="*/ 810 w 834"/>
                <a:gd name="T21" fmla="*/ 234 h 978"/>
                <a:gd name="T22" fmla="*/ 822 w 834"/>
                <a:gd name="T23" fmla="*/ 246 h 978"/>
                <a:gd name="T24" fmla="*/ 810 w 834"/>
                <a:gd name="T25" fmla="*/ 276 h 978"/>
                <a:gd name="T26" fmla="*/ 780 w 834"/>
                <a:gd name="T27" fmla="*/ 294 h 978"/>
                <a:gd name="T28" fmla="*/ 750 w 834"/>
                <a:gd name="T29" fmla="*/ 324 h 978"/>
                <a:gd name="T30" fmla="*/ 744 w 834"/>
                <a:gd name="T31" fmla="*/ 360 h 978"/>
                <a:gd name="T32" fmla="*/ 732 w 834"/>
                <a:gd name="T33" fmla="*/ 414 h 978"/>
                <a:gd name="T34" fmla="*/ 726 w 834"/>
                <a:gd name="T35" fmla="*/ 468 h 978"/>
                <a:gd name="T36" fmla="*/ 714 w 834"/>
                <a:gd name="T37" fmla="*/ 516 h 978"/>
                <a:gd name="T38" fmla="*/ 672 w 834"/>
                <a:gd name="T39" fmla="*/ 552 h 978"/>
                <a:gd name="T40" fmla="*/ 654 w 834"/>
                <a:gd name="T41" fmla="*/ 606 h 978"/>
                <a:gd name="T42" fmla="*/ 624 w 834"/>
                <a:gd name="T43" fmla="*/ 618 h 978"/>
                <a:gd name="T44" fmla="*/ 618 w 834"/>
                <a:gd name="T45" fmla="*/ 660 h 978"/>
                <a:gd name="T46" fmla="*/ 600 w 834"/>
                <a:gd name="T47" fmla="*/ 726 h 978"/>
                <a:gd name="T48" fmla="*/ 564 w 834"/>
                <a:gd name="T49" fmla="*/ 732 h 978"/>
                <a:gd name="T50" fmla="*/ 558 w 834"/>
                <a:gd name="T51" fmla="*/ 762 h 978"/>
                <a:gd name="T52" fmla="*/ 594 w 834"/>
                <a:gd name="T53" fmla="*/ 768 h 978"/>
                <a:gd name="T54" fmla="*/ 618 w 834"/>
                <a:gd name="T55" fmla="*/ 798 h 978"/>
                <a:gd name="T56" fmla="*/ 642 w 834"/>
                <a:gd name="T57" fmla="*/ 816 h 978"/>
                <a:gd name="T58" fmla="*/ 654 w 834"/>
                <a:gd name="T59" fmla="*/ 852 h 978"/>
                <a:gd name="T60" fmla="*/ 696 w 834"/>
                <a:gd name="T61" fmla="*/ 888 h 978"/>
                <a:gd name="T62" fmla="*/ 678 w 834"/>
                <a:gd name="T63" fmla="*/ 918 h 978"/>
                <a:gd name="T64" fmla="*/ 636 w 834"/>
                <a:gd name="T65" fmla="*/ 912 h 978"/>
                <a:gd name="T66" fmla="*/ 552 w 834"/>
                <a:gd name="T67" fmla="*/ 960 h 978"/>
                <a:gd name="T68" fmla="*/ 492 w 834"/>
                <a:gd name="T69" fmla="*/ 966 h 978"/>
                <a:gd name="T70" fmla="*/ 450 w 834"/>
                <a:gd name="T71" fmla="*/ 972 h 978"/>
                <a:gd name="T72" fmla="*/ 432 w 834"/>
                <a:gd name="T73" fmla="*/ 954 h 978"/>
                <a:gd name="T74" fmla="*/ 402 w 834"/>
                <a:gd name="T75" fmla="*/ 924 h 978"/>
                <a:gd name="T76" fmla="*/ 366 w 834"/>
                <a:gd name="T77" fmla="*/ 936 h 978"/>
                <a:gd name="T78" fmla="*/ 348 w 834"/>
                <a:gd name="T79" fmla="*/ 930 h 978"/>
                <a:gd name="T80" fmla="*/ 312 w 834"/>
                <a:gd name="T81" fmla="*/ 930 h 978"/>
                <a:gd name="T82" fmla="*/ 294 w 834"/>
                <a:gd name="T83" fmla="*/ 912 h 978"/>
                <a:gd name="T84" fmla="*/ 270 w 834"/>
                <a:gd name="T85" fmla="*/ 870 h 978"/>
                <a:gd name="T86" fmla="*/ 234 w 834"/>
                <a:gd name="T87" fmla="*/ 846 h 978"/>
                <a:gd name="T88" fmla="*/ 216 w 834"/>
                <a:gd name="T89" fmla="*/ 810 h 978"/>
                <a:gd name="T90" fmla="*/ 186 w 834"/>
                <a:gd name="T91" fmla="*/ 792 h 978"/>
                <a:gd name="T92" fmla="*/ 168 w 834"/>
                <a:gd name="T93" fmla="*/ 756 h 978"/>
                <a:gd name="T94" fmla="*/ 132 w 834"/>
                <a:gd name="T95" fmla="*/ 738 h 978"/>
                <a:gd name="T96" fmla="*/ 114 w 834"/>
                <a:gd name="T97" fmla="*/ 720 h 978"/>
                <a:gd name="T98" fmla="*/ 84 w 834"/>
                <a:gd name="T99" fmla="*/ 702 h 978"/>
                <a:gd name="T100" fmla="*/ 96 w 834"/>
                <a:gd name="T101" fmla="*/ 660 h 978"/>
                <a:gd name="T102" fmla="*/ 60 w 834"/>
                <a:gd name="T103" fmla="*/ 600 h 978"/>
                <a:gd name="T104" fmla="*/ 36 w 834"/>
                <a:gd name="T105" fmla="*/ 546 h 978"/>
                <a:gd name="T106" fmla="*/ 12 w 834"/>
                <a:gd name="T107" fmla="*/ 522 h 978"/>
                <a:gd name="T108" fmla="*/ 18 w 834"/>
                <a:gd name="T109" fmla="*/ 492 h 978"/>
                <a:gd name="T110" fmla="*/ 30 w 834"/>
                <a:gd name="T111" fmla="*/ 450 h 978"/>
                <a:gd name="T112" fmla="*/ 36 w 834"/>
                <a:gd name="T113" fmla="*/ 420 h 978"/>
                <a:gd name="T114" fmla="*/ 60 w 834"/>
                <a:gd name="T115" fmla="*/ 396 h 978"/>
                <a:gd name="T116" fmla="*/ 72 w 834"/>
                <a:gd name="T117" fmla="*/ 372 h 978"/>
                <a:gd name="T118" fmla="*/ 108 w 834"/>
                <a:gd name="T119" fmla="*/ 180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34"/>
                <a:gd name="T181" fmla="*/ 0 h 978"/>
                <a:gd name="T182" fmla="*/ 834 w 834"/>
                <a:gd name="T183" fmla="*/ 978 h 9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33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3100" y="1025"/>
              <a:ext cx="469" cy="423"/>
            </a:xfrm>
            <a:custGeom>
              <a:avLst/>
              <a:gdLst>
                <a:gd name="T0" fmla="*/ 60 w 552"/>
                <a:gd name="T1" fmla="*/ 6 h 498"/>
                <a:gd name="T2" fmla="*/ 102 w 552"/>
                <a:gd name="T3" fmla="*/ 12 h 498"/>
                <a:gd name="T4" fmla="*/ 132 w 552"/>
                <a:gd name="T5" fmla="*/ 24 h 498"/>
                <a:gd name="T6" fmla="*/ 174 w 552"/>
                <a:gd name="T7" fmla="*/ 30 h 498"/>
                <a:gd name="T8" fmla="*/ 204 w 552"/>
                <a:gd name="T9" fmla="*/ 42 h 498"/>
                <a:gd name="T10" fmla="*/ 246 w 552"/>
                <a:gd name="T11" fmla="*/ 30 h 498"/>
                <a:gd name="T12" fmla="*/ 270 w 552"/>
                <a:gd name="T13" fmla="*/ 24 h 498"/>
                <a:gd name="T14" fmla="*/ 306 w 552"/>
                <a:gd name="T15" fmla="*/ 6 h 498"/>
                <a:gd name="T16" fmla="*/ 294 w 552"/>
                <a:gd name="T17" fmla="*/ 18 h 498"/>
                <a:gd name="T18" fmla="*/ 318 w 552"/>
                <a:gd name="T19" fmla="*/ 6 h 498"/>
                <a:gd name="T20" fmla="*/ 348 w 552"/>
                <a:gd name="T21" fmla="*/ 12 h 498"/>
                <a:gd name="T22" fmla="*/ 372 w 552"/>
                <a:gd name="T23" fmla="*/ 18 h 498"/>
                <a:gd name="T24" fmla="*/ 354 w 552"/>
                <a:gd name="T25" fmla="*/ 6 h 498"/>
                <a:gd name="T26" fmla="*/ 354 w 552"/>
                <a:gd name="T27" fmla="*/ 18 h 498"/>
                <a:gd name="T28" fmla="*/ 366 w 552"/>
                <a:gd name="T29" fmla="*/ 24 h 498"/>
                <a:gd name="T30" fmla="*/ 372 w 552"/>
                <a:gd name="T31" fmla="*/ 30 h 498"/>
                <a:gd name="T32" fmla="*/ 378 w 552"/>
                <a:gd name="T33" fmla="*/ 30 h 498"/>
                <a:gd name="T34" fmla="*/ 402 w 552"/>
                <a:gd name="T35" fmla="*/ 30 h 498"/>
                <a:gd name="T36" fmla="*/ 414 w 552"/>
                <a:gd name="T37" fmla="*/ 30 h 498"/>
                <a:gd name="T38" fmla="*/ 420 w 552"/>
                <a:gd name="T39" fmla="*/ 36 h 498"/>
                <a:gd name="T40" fmla="*/ 432 w 552"/>
                <a:gd name="T41" fmla="*/ 30 h 498"/>
                <a:gd name="T42" fmla="*/ 468 w 552"/>
                <a:gd name="T43" fmla="*/ 24 h 498"/>
                <a:gd name="T44" fmla="*/ 492 w 552"/>
                <a:gd name="T45" fmla="*/ 60 h 498"/>
                <a:gd name="T46" fmla="*/ 510 w 552"/>
                <a:gd name="T47" fmla="*/ 108 h 498"/>
                <a:gd name="T48" fmla="*/ 498 w 552"/>
                <a:gd name="T49" fmla="*/ 138 h 498"/>
                <a:gd name="T50" fmla="*/ 486 w 552"/>
                <a:gd name="T51" fmla="*/ 168 h 498"/>
                <a:gd name="T52" fmla="*/ 474 w 552"/>
                <a:gd name="T53" fmla="*/ 192 h 498"/>
                <a:gd name="T54" fmla="*/ 450 w 552"/>
                <a:gd name="T55" fmla="*/ 180 h 498"/>
                <a:gd name="T56" fmla="*/ 426 w 552"/>
                <a:gd name="T57" fmla="*/ 156 h 498"/>
                <a:gd name="T58" fmla="*/ 420 w 552"/>
                <a:gd name="T59" fmla="*/ 132 h 498"/>
                <a:gd name="T60" fmla="*/ 402 w 552"/>
                <a:gd name="T61" fmla="*/ 108 h 498"/>
                <a:gd name="T62" fmla="*/ 396 w 552"/>
                <a:gd name="T63" fmla="*/ 96 h 498"/>
                <a:gd name="T64" fmla="*/ 390 w 552"/>
                <a:gd name="T65" fmla="*/ 96 h 498"/>
                <a:gd name="T66" fmla="*/ 390 w 552"/>
                <a:gd name="T67" fmla="*/ 120 h 498"/>
                <a:gd name="T68" fmla="*/ 402 w 552"/>
                <a:gd name="T69" fmla="*/ 150 h 498"/>
                <a:gd name="T70" fmla="*/ 420 w 552"/>
                <a:gd name="T71" fmla="*/ 174 h 498"/>
                <a:gd name="T72" fmla="*/ 438 w 552"/>
                <a:gd name="T73" fmla="*/ 192 h 498"/>
                <a:gd name="T74" fmla="*/ 438 w 552"/>
                <a:gd name="T75" fmla="*/ 198 h 498"/>
                <a:gd name="T76" fmla="*/ 450 w 552"/>
                <a:gd name="T77" fmla="*/ 216 h 498"/>
                <a:gd name="T78" fmla="*/ 462 w 552"/>
                <a:gd name="T79" fmla="*/ 234 h 498"/>
                <a:gd name="T80" fmla="*/ 474 w 552"/>
                <a:gd name="T81" fmla="*/ 270 h 498"/>
                <a:gd name="T82" fmla="*/ 492 w 552"/>
                <a:gd name="T83" fmla="*/ 300 h 498"/>
                <a:gd name="T84" fmla="*/ 504 w 552"/>
                <a:gd name="T85" fmla="*/ 330 h 498"/>
                <a:gd name="T86" fmla="*/ 522 w 552"/>
                <a:gd name="T87" fmla="*/ 354 h 498"/>
                <a:gd name="T88" fmla="*/ 540 w 552"/>
                <a:gd name="T89" fmla="*/ 378 h 498"/>
                <a:gd name="T90" fmla="*/ 546 w 552"/>
                <a:gd name="T91" fmla="*/ 390 h 498"/>
                <a:gd name="T92" fmla="*/ 534 w 552"/>
                <a:gd name="T93" fmla="*/ 396 h 498"/>
                <a:gd name="T94" fmla="*/ 540 w 552"/>
                <a:gd name="T95" fmla="*/ 408 h 498"/>
                <a:gd name="T96" fmla="*/ 510 w 552"/>
                <a:gd name="T97" fmla="*/ 438 h 498"/>
                <a:gd name="T98" fmla="*/ 360 w 552"/>
                <a:gd name="T99" fmla="*/ 480 h 498"/>
                <a:gd name="T100" fmla="*/ 18 w 552"/>
                <a:gd name="T101" fmla="*/ 480 h 498"/>
                <a:gd name="T102" fmla="*/ 12 w 552"/>
                <a:gd name="T103" fmla="*/ 102 h 498"/>
                <a:gd name="T104" fmla="*/ 12 w 552"/>
                <a:gd name="T105" fmla="*/ 60 h 498"/>
                <a:gd name="T106" fmla="*/ 12 w 552"/>
                <a:gd name="T107" fmla="*/ 24 h 498"/>
                <a:gd name="T108" fmla="*/ 24 w 552"/>
                <a:gd name="T109" fmla="*/ 6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498"/>
                <a:gd name="T167" fmla="*/ 552 w 552"/>
                <a:gd name="T168" fmla="*/ 498 h 49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34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595" y="1606"/>
              <a:ext cx="285" cy="235"/>
            </a:xfrm>
            <a:custGeom>
              <a:avLst/>
              <a:gdLst>
                <a:gd name="T0" fmla="*/ 120 w 336"/>
                <a:gd name="T1" fmla="*/ 12 h 276"/>
                <a:gd name="T2" fmla="*/ 126 w 336"/>
                <a:gd name="T3" fmla="*/ 30 h 276"/>
                <a:gd name="T4" fmla="*/ 132 w 336"/>
                <a:gd name="T5" fmla="*/ 48 h 276"/>
                <a:gd name="T6" fmla="*/ 132 w 336"/>
                <a:gd name="T7" fmla="*/ 60 h 276"/>
                <a:gd name="T8" fmla="*/ 138 w 336"/>
                <a:gd name="T9" fmla="*/ 66 h 276"/>
                <a:gd name="T10" fmla="*/ 138 w 336"/>
                <a:gd name="T11" fmla="*/ 90 h 276"/>
                <a:gd name="T12" fmla="*/ 150 w 336"/>
                <a:gd name="T13" fmla="*/ 114 h 276"/>
                <a:gd name="T14" fmla="*/ 162 w 336"/>
                <a:gd name="T15" fmla="*/ 126 h 276"/>
                <a:gd name="T16" fmla="*/ 168 w 336"/>
                <a:gd name="T17" fmla="*/ 144 h 276"/>
                <a:gd name="T18" fmla="*/ 168 w 336"/>
                <a:gd name="T19" fmla="*/ 126 h 276"/>
                <a:gd name="T20" fmla="*/ 174 w 336"/>
                <a:gd name="T21" fmla="*/ 126 h 276"/>
                <a:gd name="T22" fmla="*/ 186 w 336"/>
                <a:gd name="T23" fmla="*/ 138 h 276"/>
                <a:gd name="T24" fmla="*/ 186 w 336"/>
                <a:gd name="T25" fmla="*/ 150 h 276"/>
                <a:gd name="T26" fmla="*/ 198 w 336"/>
                <a:gd name="T27" fmla="*/ 150 h 276"/>
                <a:gd name="T28" fmla="*/ 204 w 336"/>
                <a:gd name="T29" fmla="*/ 144 h 276"/>
                <a:gd name="T30" fmla="*/ 204 w 336"/>
                <a:gd name="T31" fmla="*/ 144 h 276"/>
                <a:gd name="T32" fmla="*/ 210 w 336"/>
                <a:gd name="T33" fmla="*/ 150 h 276"/>
                <a:gd name="T34" fmla="*/ 228 w 336"/>
                <a:gd name="T35" fmla="*/ 162 h 276"/>
                <a:gd name="T36" fmla="*/ 246 w 336"/>
                <a:gd name="T37" fmla="*/ 174 h 276"/>
                <a:gd name="T38" fmla="*/ 258 w 336"/>
                <a:gd name="T39" fmla="*/ 198 h 276"/>
                <a:gd name="T40" fmla="*/ 270 w 336"/>
                <a:gd name="T41" fmla="*/ 204 h 276"/>
                <a:gd name="T42" fmla="*/ 282 w 336"/>
                <a:gd name="T43" fmla="*/ 216 h 276"/>
                <a:gd name="T44" fmla="*/ 294 w 336"/>
                <a:gd name="T45" fmla="*/ 216 h 276"/>
                <a:gd name="T46" fmla="*/ 300 w 336"/>
                <a:gd name="T47" fmla="*/ 234 h 276"/>
                <a:gd name="T48" fmla="*/ 312 w 336"/>
                <a:gd name="T49" fmla="*/ 246 h 276"/>
                <a:gd name="T50" fmla="*/ 318 w 336"/>
                <a:gd name="T51" fmla="*/ 252 h 276"/>
                <a:gd name="T52" fmla="*/ 324 w 336"/>
                <a:gd name="T53" fmla="*/ 252 h 276"/>
                <a:gd name="T54" fmla="*/ 330 w 336"/>
                <a:gd name="T55" fmla="*/ 258 h 276"/>
                <a:gd name="T56" fmla="*/ 318 w 336"/>
                <a:gd name="T57" fmla="*/ 264 h 276"/>
                <a:gd name="T58" fmla="*/ 306 w 336"/>
                <a:gd name="T59" fmla="*/ 270 h 276"/>
                <a:gd name="T60" fmla="*/ 288 w 336"/>
                <a:gd name="T61" fmla="*/ 258 h 276"/>
                <a:gd name="T62" fmla="*/ 276 w 336"/>
                <a:gd name="T63" fmla="*/ 246 h 276"/>
                <a:gd name="T64" fmla="*/ 246 w 336"/>
                <a:gd name="T65" fmla="*/ 216 h 276"/>
                <a:gd name="T66" fmla="*/ 228 w 336"/>
                <a:gd name="T67" fmla="*/ 198 h 276"/>
                <a:gd name="T68" fmla="*/ 210 w 336"/>
                <a:gd name="T69" fmla="*/ 186 h 276"/>
                <a:gd name="T70" fmla="*/ 186 w 336"/>
                <a:gd name="T71" fmla="*/ 174 h 276"/>
                <a:gd name="T72" fmla="*/ 162 w 336"/>
                <a:gd name="T73" fmla="*/ 174 h 276"/>
                <a:gd name="T74" fmla="*/ 150 w 336"/>
                <a:gd name="T75" fmla="*/ 174 h 276"/>
                <a:gd name="T76" fmla="*/ 132 w 336"/>
                <a:gd name="T77" fmla="*/ 162 h 276"/>
                <a:gd name="T78" fmla="*/ 120 w 336"/>
                <a:gd name="T79" fmla="*/ 174 h 276"/>
                <a:gd name="T80" fmla="*/ 96 w 336"/>
                <a:gd name="T81" fmla="*/ 174 h 276"/>
                <a:gd name="T82" fmla="*/ 84 w 336"/>
                <a:gd name="T83" fmla="*/ 162 h 276"/>
                <a:gd name="T84" fmla="*/ 60 w 336"/>
                <a:gd name="T85" fmla="*/ 192 h 276"/>
                <a:gd name="T86" fmla="*/ 48 w 336"/>
                <a:gd name="T87" fmla="*/ 180 h 276"/>
                <a:gd name="T88" fmla="*/ 36 w 336"/>
                <a:gd name="T89" fmla="*/ 180 h 276"/>
                <a:gd name="T90" fmla="*/ 24 w 336"/>
                <a:gd name="T91" fmla="*/ 180 h 276"/>
                <a:gd name="T92" fmla="*/ 6 w 336"/>
                <a:gd name="T93" fmla="*/ 174 h 276"/>
                <a:gd name="T94" fmla="*/ 0 w 336"/>
                <a:gd name="T95" fmla="*/ 144 h 276"/>
                <a:gd name="T96" fmla="*/ 12 w 336"/>
                <a:gd name="T97" fmla="*/ 126 h 276"/>
                <a:gd name="T98" fmla="*/ 18 w 336"/>
                <a:gd name="T99" fmla="*/ 102 h 276"/>
                <a:gd name="T100" fmla="*/ 30 w 336"/>
                <a:gd name="T101" fmla="*/ 84 h 276"/>
                <a:gd name="T102" fmla="*/ 30 w 336"/>
                <a:gd name="T103" fmla="*/ 72 h 276"/>
                <a:gd name="T104" fmla="*/ 30 w 336"/>
                <a:gd name="T105" fmla="*/ 60 h 276"/>
                <a:gd name="T106" fmla="*/ 36 w 336"/>
                <a:gd name="T107" fmla="*/ 42 h 276"/>
                <a:gd name="T108" fmla="*/ 54 w 336"/>
                <a:gd name="T109" fmla="*/ 36 h 276"/>
                <a:gd name="T110" fmla="*/ 66 w 336"/>
                <a:gd name="T111" fmla="*/ 24 h 276"/>
                <a:gd name="T112" fmla="*/ 84 w 336"/>
                <a:gd name="T113" fmla="*/ 18 h 276"/>
                <a:gd name="T114" fmla="*/ 96 w 336"/>
                <a:gd name="T115" fmla="*/ 18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6"/>
                <a:gd name="T175" fmla="*/ 0 h 276"/>
                <a:gd name="T176" fmla="*/ 336 w 336"/>
                <a:gd name="T177" fmla="*/ 276 h 2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35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3304" y="2187"/>
              <a:ext cx="235" cy="240"/>
            </a:xfrm>
            <a:custGeom>
              <a:avLst/>
              <a:gdLst>
                <a:gd name="T0" fmla="*/ 72 w 276"/>
                <a:gd name="T1" fmla="*/ 30 h 282"/>
                <a:gd name="T2" fmla="*/ 78 w 276"/>
                <a:gd name="T3" fmla="*/ 18 h 282"/>
                <a:gd name="T4" fmla="*/ 102 w 276"/>
                <a:gd name="T5" fmla="*/ 24 h 282"/>
                <a:gd name="T6" fmla="*/ 114 w 276"/>
                <a:gd name="T7" fmla="*/ 18 h 282"/>
                <a:gd name="T8" fmla="*/ 120 w 276"/>
                <a:gd name="T9" fmla="*/ 30 h 282"/>
                <a:gd name="T10" fmla="*/ 144 w 276"/>
                <a:gd name="T11" fmla="*/ 24 h 282"/>
                <a:gd name="T12" fmla="*/ 174 w 276"/>
                <a:gd name="T13" fmla="*/ 12 h 282"/>
                <a:gd name="T14" fmla="*/ 210 w 276"/>
                <a:gd name="T15" fmla="*/ 6 h 282"/>
                <a:gd name="T16" fmla="*/ 228 w 276"/>
                <a:gd name="T17" fmla="*/ 6 h 282"/>
                <a:gd name="T18" fmla="*/ 234 w 276"/>
                <a:gd name="T19" fmla="*/ 12 h 282"/>
                <a:gd name="T20" fmla="*/ 234 w 276"/>
                <a:gd name="T21" fmla="*/ 18 h 282"/>
                <a:gd name="T22" fmla="*/ 234 w 276"/>
                <a:gd name="T23" fmla="*/ 24 h 282"/>
                <a:gd name="T24" fmla="*/ 246 w 276"/>
                <a:gd name="T25" fmla="*/ 30 h 282"/>
                <a:gd name="T26" fmla="*/ 246 w 276"/>
                <a:gd name="T27" fmla="*/ 36 h 282"/>
                <a:gd name="T28" fmla="*/ 246 w 276"/>
                <a:gd name="T29" fmla="*/ 42 h 282"/>
                <a:gd name="T30" fmla="*/ 252 w 276"/>
                <a:gd name="T31" fmla="*/ 54 h 282"/>
                <a:gd name="T32" fmla="*/ 258 w 276"/>
                <a:gd name="T33" fmla="*/ 66 h 282"/>
                <a:gd name="T34" fmla="*/ 270 w 276"/>
                <a:gd name="T35" fmla="*/ 84 h 282"/>
                <a:gd name="T36" fmla="*/ 270 w 276"/>
                <a:gd name="T37" fmla="*/ 108 h 282"/>
                <a:gd name="T38" fmla="*/ 270 w 276"/>
                <a:gd name="T39" fmla="*/ 132 h 282"/>
                <a:gd name="T40" fmla="*/ 258 w 276"/>
                <a:gd name="T41" fmla="*/ 138 h 282"/>
                <a:gd name="T42" fmla="*/ 258 w 276"/>
                <a:gd name="T43" fmla="*/ 144 h 282"/>
                <a:gd name="T44" fmla="*/ 246 w 276"/>
                <a:gd name="T45" fmla="*/ 150 h 282"/>
                <a:gd name="T46" fmla="*/ 246 w 276"/>
                <a:gd name="T47" fmla="*/ 168 h 282"/>
                <a:gd name="T48" fmla="*/ 234 w 276"/>
                <a:gd name="T49" fmla="*/ 174 h 282"/>
                <a:gd name="T50" fmla="*/ 228 w 276"/>
                <a:gd name="T51" fmla="*/ 192 h 282"/>
                <a:gd name="T52" fmla="*/ 222 w 276"/>
                <a:gd name="T53" fmla="*/ 204 h 282"/>
                <a:gd name="T54" fmla="*/ 216 w 276"/>
                <a:gd name="T55" fmla="*/ 228 h 282"/>
                <a:gd name="T56" fmla="*/ 102 w 276"/>
                <a:gd name="T57" fmla="*/ 258 h 282"/>
                <a:gd name="T58" fmla="*/ 66 w 276"/>
                <a:gd name="T59" fmla="*/ 258 h 282"/>
                <a:gd name="T60" fmla="*/ 48 w 276"/>
                <a:gd name="T61" fmla="*/ 258 h 282"/>
                <a:gd name="T62" fmla="*/ 36 w 276"/>
                <a:gd name="T63" fmla="*/ 264 h 282"/>
                <a:gd name="T64" fmla="*/ 30 w 276"/>
                <a:gd name="T65" fmla="*/ 276 h 282"/>
                <a:gd name="T66" fmla="*/ 18 w 276"/>
                <a:gd name="T67" fmla="*/ 282 h 282"/>
                <a:gd name="T68" fmla="*/ 12 w 276"/>
                <a:gd name="T69" fmla="*/ 270 h 282"/>
                <a:gd name="T70" fmla="*/ 6 w 276"/>
                <a:gd name="T71" fmla="*/ 270 h 282"/>
                <a:gd name="T72" fmla="*/ 0 w 276"/>
                <a:gd name="T73" fmla="*/ 264 h 282"/>
                <a:gd name="T74" fmla="*/ 6 w 276"/>
                <a:gd name="T75" fmla="*/ 252 h 282"/>
                <a:gd name="T76" fmla="*/ 6 w 276"/>
                <a:gd name="T77" fmla="*/ 234 h 282"/>
                <a:gd name="T78" fmla="*/ 12 w 276"/>
                <a:gd name="T79" fmla="*/ 204 h 282"/>
                <a:gd name="T80" fmla="*/ 18 w 276"/>
                <a:gd name="T81" fmla="*/ 192 h 282"/>
                <a:gd name="T82" fmla="*/ 24 w 276"/>
                <a:gd name="T83" fmla="*/ 174 h 282"/>
                <a:gd name="T84" fmla="*/ 30 w 276"/>
                <a:gd name="T85" fmla="*/ 162 h 282"/>
                <a:gd name="T86" fmla="*/ 36 w 276"/>
                <a:gd name="T87" fmla="*/ 150 h 282"/>
                <a:gd name="T88" fmla="*/ 60 w 276"/>
                <a:gd name="T89" fmla="*/ 132 h 282"/>
                <a:gd name="T90" fmla="*/ 84 w 276"/>
                <a:gd name="T91" fmla="*/ 108 h 282"/>
                <a:gd name="T92" fmla="*/ 78 w 276"/>
                <a:gd name="T93" fmla="*/ 96 h 282"/>
                <a:gd name="T94" fmla="*/ 66 w 276"/>
                <a:gd name="T95" fmla="*/ 90 h 282"/>
                <a:gd name="T96" fmla="*/ 60 w 276"/>
                <a:gd name="T97" fmla="*/ 78 h 282"/>
                <a:gd name="T98" fmla="*/ 66 w 276"/>
                <a:gd name="T99" fmla="*/ 60 h 282"/>
                <a:gd name="T100" fmla="*/ 66 w 276"/>
                <a:gd name="T101" fmla="*/ 48 h 282"/>
                <a:gd name="T102" fmla="*/ 66 w 276"/>
                <a:gd name="T103" fmla="*/ 36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6"/>
                <a:gd name="T157" fmla="*/ 0 h 282"/>
                <a:gd name="T158" fmla="*/ 276 w 27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36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3452" y="1734"/>
              <a:ext cx="633" cy="484"/>
            </a:xfrm>
            <a:custGeom>
              <a:avLst/>
              <a:gdLst>
                <a:gd name="T0" fmla="*/ 186 w 744"/>
                <a:gd name="T1" fmla="*/ 30 h 570"/>
                <a:gd name="T2" fmla="*/ 204 w 744"/>
                <a:gd name="T3" fmla="*/ 24 h 570"/>
                <a:gd name="T4" fmla="*/ 222 w 744"/>
                <a:gd name="T5" fmla="*/ 42 h 570"/>
                <a:gd name="T6" fmla="*/ 258 w 744"/>
                <a:gd name="T7" fmla="*/ 12 h 570"/>
                <a:gd name="T8" fmla="*/ 282 w 744"/>
                <a:gd name="T9" fmla="*/ 24 h 570"/>
                <a:gd name="T10" fmla="*/ 306 w 744"/>
                <a:gd name="T11" fmla="*/ 18 h 570"/>
                <a:gd name="T12" fmla="*/ 330 w 744"/>
                <a:gd name="T13" fmla="*/ 18 h 570"/>
                <a:gd name="T14" fmla="*/ 360 w 744"/>
                <a:gd name="T15" fmla="*/ 24 h 570"/>
                <a:gd name="T16" fmla="*/ 390 w 744"/>
                <a:gd name="T17" fmla="*/ 42 h 570"/>
                <a:gd name="T18" fmla="*/ 432 w 744"/>
                <a:gd name="T19" fmla="*/ 84 h 570"/>
                <a:gd name="T20" fmla="*/ 450 w 744"/>
                <a:gd name="T21" fmla="*/ 108 h 570"/>
                <a:gd name="T22" fmla="*/ 462 w 744"/>
                <a:gd name="T23" fmla="*/ 132 h 570"/>
                <a:gd name="T24" fmla="*/ 438 w 744"/>
                <a:gd name="T25" fmla="*/ 156 h 570"/>
                <a:gd name="T26" fmla="*/ 438 w 744"/>
                <a:gd name="T27" fmla="*/ 192 h 570"/>
                <a:gd name="T28" fmla="*/ 468 w 744"/>
                <a:gd name="T29" fmla="*/ 198 h 570"/>
                <a:gd name="T30" fmla="*/ 492 w 744"/>
                <a:gd name="T31" fmla="*/ 198 h 570"/>
                <a:gd name="T32" fmla="*/ 486 w 744"/>
                <a:gd name="T33" fmla="*/ 228 h 570"/>
                <a:gd name="T34" fmla="*/ 510 w 744"/>
                <a:gd name="T35" fmla="*/ 252 h 570"/>
                <a:gd name="T36" fmla="*/ 540 w 744"/>
                <a:gd name="T37" fmla="*/ 288 h 570"/>
                <a:gd name="T38" fmla="*/ 648 w 744"/>
                <a:gd name="T39" fmla="*/ 330 h 570"/>
                <a:gd name="T40" fmla="*/ 594 w 744"/>
                <a:gd name="T41" fmla="*/ 498 h 570"/>
                <a:gd name="T42" fmla="*/ 498 w 744"/>
                <a:gd name="T43" fmla="*/ 516 h 570"/>
                <a:gd name="T44" fmla="*/ 474 w 744"/>
                <a:gd name="T45" fmla="*/ 534 h 570"/>
                <a:gd name="T46" fmla="*/ 444 w 744"/>
                <a:gd name="T47" fmla="*/ 546 h 570"/>
                <a:gd name="T48" fmla="*/ 408 w 744"/>
                <a:gd name="T49" fmla="*/ 546 h 570"/>
                <a:gd name="T50" fmla="*/ 390 w 744"/>
                <a:gd name="T51" fmla="*/ 528 h 570"/>
                <a:gd name="T52" fmla="*/ 354 w 744"/>
                <a:gd name="T53" fmla="*/ 540 h 570"/>
                <a:gd name="T54" fmla="*/ 318 w 744"/>
                <a:gd name="T55" fmla="*/ 570 h 570"/>
                <a:gd name="T56" fmla="*/ 288 w 744"/>
                <a:gd name="T57" fmla="*/ 564 h 570"/>
                <a:gd name="T58" fmla="*/ 252 w 744"/>
                <a:gd name="T59" fmla="*/ 564 h 570"/>
                <a:gd name="T60" fmla="*/ 198 w 744"/>
                <a:gd name="T61" fmla="*/ 528 h 570"/>
                <a:gd name="T62" fmla="*/ 156 w 744"/>
                <a:gd name="T63" fmla="*/ 522 h 570"/>
                <a:gd name="T64" fmla="*/ 144 w 744"/>
                <a:gd name="T65" fmla="*/ 486 h 570"/>
                <a:gd name="T66" fmla="*/ 132 w 744"/>
                <a:gd name="T67" fmla="*/ 474 h 570"/>
                <a:gd name="T68" fmla="*/ 102 w 744"/>
                <a:gd name="T69" fmla="*/ 456 h 570"/>
                <a:gd name="T70" fmla="*/ 96 w 744"/>
                <a:gd name="T71" fmla="*/ 420 h 570"/>
                <a:gd name="T72" fmla="*/ 84 w 744"/>
                <a:gd name="T73" fmla="*/ 408 h 570"/>
                <a:gd name="T74" fmla="*/ 72 w 744"/>
                <a:gd name="T75" fmla="*/ 402 h 570"/>
                <a:gd name="T76" fmla="*/ 48 w 744"/>
                <a:gd name="T77" fmla="*/ 384 h 570"/>
                <a:gd name="T78" fmla="*/ 36 w 744"/>
                <a:gd name="T79" fmla="*/ 360 h 570"/>
                <a:gd name="T80" fmla="*/ 24 w 744"/>
                <a:gd name="T81" fmla="*/ 360 h 570"/>
                <a:gd name="T82" fmla="*/ 0 w 744"/>
                <a:gd name="T83" fmla="*/ 354 h 570"/>
                <a:gd name="T84" fmla="*/ 6 w 744"/>
                <a:gd name="T85" fmla="*/ 336 h 570"/>
                <a:gd name="T86" fmla="*/ 18 w 744"/>
                <a:gd name="T87" fmla="*/ 324 h 570"/>
                <a:gd name="T88" fmla="*/ 36 w 744"/>
                <a:gd name="T89" fmla="*/ 324 h 570"/>
                <a:gd name="T90" fmla="*/ 54 w 744"/>
                <a:gd name="T91" fmla="*/ 306 h 570"/>
                <a:gd name="T92" fmla="*/ 60 w 744"/>
                <a:gd name="T93" fmla="*/ 252 h 570"/>
                <a:gd name="T94" fmla="*/ 66 w 744"/>
                <a:gd name="T95" fmla="*/ 222 h 570"/>
                <a:gd name="T96" fmla="*/ 72 w 744"/>
                <a:gd name="T97" fmla="*/ 204 h 570"/>
                <a:gd name="T98" fmla="*/ 90 w 744"/>
                <a:gd name="T99" fmla="*/ 204 h 570"/>
                <a:gd name="T100" fmla="*/ 102 w 744"/>
                <a:gd name="T101" fmla="*/ 174 h 570"/>
                <a:gd name="T102" fmla="*/ 114 w 744"/>
                <a:gd name="T103" fmla="*/ 144 h 570"/>
                <a:gd name="T104" fmla="*/ 132 w 744"/>
                <a:gd name="T105" fmla="*/ 114 h 570"/>
                <a:gd name="T106" fmla="*/ 156 w 744"/>
                <a:gd name="T107" fmla="*/ 108 h 570"/>
                <a:gd name="T108" fmla="*/ 168 w 744"/>
                <a:gd name="T109" fmla="*/ 72 h 570"/>
                <a:gd name="T110" fmla="*/ 174 w 744"/>
                <a:gd name="T111" fmla="*/ 48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4"/>
                <a:gd name="T169" fmla="*/ 0 h 570"/>
                <a:gd name="T170" fmla="*/ 744 w 744"/>
                <a:gd name="T171" fmla="*/ 570 h 5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37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3789" y="1856"/>
              <a:ext cx="438" cy="576"/>
            </a:xfrm>
            <a:custGeom>
              <a:avLst/>
              <a:gdLst>
                <a:gd name="T0" fmla="*/ 60 w 516"/>
                <a:gd name="T1" fmla="*/ 390 h 678"/>
                <a:gd name="T2" fmla="*/ 90 w 516"/>
                <a:gd name="T3" fmla="*/ 384 h 678"/>
                <a:gd name="T4" fmla="*/ 102 w 516"/>
                <a:gd name="T5" fmla="*/ 366 h 678"/>
                <a:gd name="T6" fmla="*/ 198 w 516"/>
                <a:gd name="T7" fmla="*/ 354 h 678"/>
                <a:gd name="T8" fmla="*/ 258 w 516"/>
                <a:gd name="T9" fmla="*/ 186 h 678"/>
                <a:gd name="T10" fmla="*/ 174 w 516"/>
                <a:gd name="T11" fmla="*/ 156 h 678"/>
                <a:gd name="T12" fmla="*/ 120 w 516"/>
                <a:gd name="T13" fmla="*/ 132 h 678"/>
                <a:gd name="T14" fmla="*/ 102 w 516"/>
                <a:gd name="T15" fmla="*/ 108 h 678"/>
                <a:gd name="T16" fmla="*/ 90 w 516"/>
                <a:gd name="T17" fmla="*/ 78 h 678"/>
                <a:gd name="T18" fmla="*/ 96 w 516"/>
                <a:gd name="T19" fmla="*/ 54 h 678"/>
                <a:gd name="T20" fmla="*/ 114 w 516"/>
                <a:gd name="T21" fmla="*/ 30 h 678"/>
                <a:gd name="T22" fmla="*/ 126 w 516"/>
                <a:gd name="T23" fmla="*/ 36 h 678"/>
                <a:gd name="T24" fmla="*/ 150 w 516"/>
                <a:gd name="T25" fmla="*/ 66 h 678"/>
                <a:gd name="T26" fmla="*/ 168 w 516"/>
                <a:gd name="T27" fmla="*/ 84 h 678"/>
                <a:gd name="T28" fmla="*/ 192 w 516"/>
                <a:gd name="T29" fmla="*/ 78 h 678"/>
                <a:gd name="T30" fmla="*/ 216 w 516"/>
                <a:gd name="T31" fmla="*/ 66 h 678"/>
                <a:gd name="T32" fmla="*/ 240 w 516"/>
                <a:gd name="T33" fmla="*/ 60 h 678"/>
                <a:gd name="T34" fmla="*/ 270 w 516"/>
                <a:gd name="T35" fmla="*/ 66 h 678"/>
                <a:gd name="T36" fmla="*/ 294 w 516"/>
                <a:gd name="T37" fmla="*/ 60 h 678"/>
                <a:gd name="T38" fmla="*/ 312 w 516"/>
                <a:gd name="T39" fmla="*/ 48 h 678"/>
                <a:gd name="T40" fmla="*/ 336 w 516"/>
                <a:gd name="T41" fmla="*/ 48 h 678"/>
                <a:gd name="T42" fmla="*/ 354 w 516"/>
                <a:gd name="T43" fmla="*/ 42 h 678"/>
                <a:gd name="T44" fmla="*/ 384 w 516"/>
                <a:gd name="T45" fmla="*/ 36 h 678"/>
                <a:gd name="T46" fmla="*/ 408 w 516"/>
                <a:gd name="T47" fmla="*/ 36 h 678"/>
                <a:gd name="T48" fmla="*/ 432 w 516"/>
                <a:gd name="T49" fmla="*/ 30 h 678"/>
                <a:gd name="T50" fmla="*/ 450 w 516"/>
                <a:gd name="T51" fmla="*/ 24 h 678"/>
                <a:gd name="T52" fmla="*/ 474 w 516"/>
                <a:gd name="T53" fmla="*/ 12 h 678"/>
                <a:gd name="T54" fmla="*/ 486 w 516"/>
                <a:gd name="T55" fmla="*/ 0 h 678"/>
                <a:gd name="T56" fmla="*/ 510 w 516"/>
                <a:gd name="T57" fmla="*/ 18 h 678"/>
                <a:gd name="T58" fmla="*/ 498 w 516"/>
                <a:gd name="T59" fmla="*/ 42 h 678"/>
                <a:gd name="T60" fmla="*/ 504 w 516"/>
                <a:gd name="T61" fmla="*/ 72 h 678"/>
                <a:gd name="T62" fmla="*/ 504 w 516"/>
                <a:gd name="T63" fmla="*/ 78 h 678"/>
                <a:gd name="T64" fmla="*/ 516 w 516"/>
                <a:gd name="T65" fmla="*/ 84 h 678"/>
                <a:gd name="T66" fmla="*/ 492 w 516"/>
                <a:gd name="T67" fmla="*/ 84 h 678"/>
                <a:gd name="T68" fmla="*/ 486 w 516"/>
                <a:gd name="T69" fmla="*/ 114 h 678"/>
                <a:gd name="T70" fmla="*/ 486 w 516"/>
                <a:gd name="T71" fmla="*/ 138 h 678"/>
                <a:gd name="T72" fmla="*/ 468 w 516"/>
                <a:gd name="T73" fmla="*/ 156 h 678"/>
                <a:gd name="T74" fmla="*/ 456 w 516"/>
                <a:gd name="T75" fmla="*/ 180 h 678"/>
                <a:gd name="T76" fmla="*/ 438 w 516"/>
                <a:gd name="T77" fmla="*/ 204 h 678"/>
                <a:gd name="T78" fmla="*/ 426 w 516"/>
                <a:gd name="T79" fmla="*/ 234 h 678"/>
                <a:gd name="T80" fmla="*/ 408 w 516"/>
                <a:gd name="T81" fmla="*/ 264 h 678"/>
                <a:gd name="T82" fmla="*/ 396 w 516"/>
                <a:gd name="T83" fmla="*/ 294 h 678"/>
                <a:gd name="T84" fmla="*/ 372 w 516"/>
                <a:gd name="T85" fmla="*/ 330 h 678"/>
                <a:gd name="T86" fmla="*/ 348 w 516"/>
                <a:gd name="T87" fmla="*/ 366 h 678"/>
                <a:gd name="T88" fmla="*/ 330 w 516"/>
                <a:gd name="T89" fmla="*/ 390 h 678"/>
                <a:gd name="T90" fmla="*/ 306 w 516"/>
                <a:gd name="T91" fmla="*/ 420 h 678"/>
                <a:gd name="T92" fmla="*/ 282 w 516"/>
                <a:gd name="T93" fmla="*/ 444 h 678"/>
                <a:gd name="T94" fmla="*/ 252 w 516"/>
                <a:gd name="T95" fmla="*/ 468 h 678"/>
                <a:gd name="T96" fmla="*/ 234 w 516"/>
                <a:gd name="T97" fmla="*/ 486 h 678"/>
                <a:gd name="T98" fmla="*/ 210 w 516"/>
                <a:gd name="T99" fmla="*/ 498 h 678"/>
                <a:gd name="T100" fmla="*/ 186 w 516"/>
                <a:gd name="T101" fmla="*/ 516 h 678"/>
                <a:gd name="T102" fmla="*/ 162 w 516"/>
                <a:gd name="T103" fmla="*/ 534 h 678"/>
                <a:gd name="T104" fmla="*/ 144 w 516"/>
                <a:gd name="T105" fmla="*/ 546 h 678"/>
                <a:gd name="T106" fmla="*/ 126 w 516"/>
                <a:gd name="T107" fmla="*/ 564 h 678"/>
                <a:gd name="T108" fmla="*/ 96 w 516"/>
                <a:gd name="T109" fmla="*/ 600 h 678"/>
                <a:gd name="T110" fmla="*/ 72 w 516"/>
                <a:gd name="T111" fmla="*/ 618 h 678"/>
                <a:gd name="T112" fmla="*/ 60 w 516"/>
                <a:gd name="T113" fmla="*/ 636 h 678"/>
                <a:gd name="T114" fmla="*/ 54 w 516"/>
                <a:gd name="T115" fmla="*/ 636 h 678"/>
                <a:gd name="T116" fmla="*/ 48 w 516"/>
                <a:gd name="T117" fmla="*/ 648 h 678"/>
                <a:gd name="T118" fmla="*/ 42 w 516"/>
                <a:gd name="T119" fmla="*/ 660 h 678"/>
                <a:gd name="T120" fmla="*/ 42 w 516"/>
                <a:gd name="T121" fmla="*/ 654 h 678"/>
                <a:gd name="T122" fmla="*/ 0 w 516"/>
                <a:gd name="T123" fmla="*/ 636 h 678"/>
                <a:gd name="T124" fmla="*/ 0 w 516"/>
                <a:gd name="T125" fmla="*/ 498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16"/>
                <a:gd name="T190" fmla="*/ 0 h 678"/>
                <a:gd name="T191" fmla="*/ 516 w 516"/>
                <a:gd name="T192" fmla="*/ 678 h 6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38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3488" y="2152"/>
              <a:ext cx="337" cy="408"/>
            </a:xfrm>
            <a:custGeom>
              <a:avLst/>
              <a:gdLst>
                <a:gd name="T0" fmla="*/ 24 w 396"/>
                <a:gd name="T1" fmla="*/ 18 h 480"/>
                <a:gd name="T2" fmla="*/ 48 w 396"/>
                <a:gd name="T3" fmla="*/ 6 h 480"/>
                <a:gd name="T4" fmla="*/ 72 w 396"/>
                <a:gd name="T5" fmla="*/ 0 h 480"/>
                <a:gd name="T6" fmla="*/ 78 w 396"/>
                <a:gd name="T7" fmla="*/ 18 h 480"/>
                <a:gd name="T8" fmla="*/ 102 w 396"/>
                <a:gd name="T9" fmla="*/ 24 h 480"/>
                <a:gd name="T10" fmla="*/ 132 w 396"/>
                <a:gd name="T11" fmla="*/ 30 h 480"/>
                <a:gd name="T12" fmla="*/ 156 w 396"/>
                <a:gd name="T13" fmla="*/ 36 h 480"/>
                <a:gd name="T14" fmla="*/ 204 w 396"/>
                <a:gd name="T15" fmla="*/ 66 h 480"/>
                <a:gd name="T16" fmla="*/ 228 w 396"/>
                <a:gd name="T17" fmla="*/ 72 h 480"/>
                <a:gd name="T18" fmla="*/ 246 w 396"/>
                <a:gd name="T19" fmla="*/ 72 h 480"/>
                <a:gd name="T20" fmla="*/ 264 w 396"/>
                <a:gd name="T21" fmla="*/ 78 h 480"/>
                <a:gd name="T22" fmla="*/ 294 w 396"/>
                <a:gd name="T23" fmla="*/ 66 h 480"/>
                <a:gd name="T24" fmla="*/ 312 w 396"/>
                <a:gd name="T25" fmla="*/ 48 h 480"/>
                <a:gd name="T26" fmla="*/ 336 w 396"/>
                <a:gd name="T27" fmla="*/ 42 h 480"/>
                <a:gd name="T28" fmla="*/ 354 w 396"/>
                <a:gd name="T29" fmla="*/ 42 h 480"/>
                <a:gd name="T30" fmla="*/ 366 w 396"/>
                <a:gd name="T31" fmla="*/ 54 h 480"/>
                <a:gd name="T32" fmla="*/ 390 w 396"/>
                <a:gd name="T33" fmla="*/ 54 h 480"/>
                <a:gd name="T34" fmla="*/ 354 w 396"/>
                <a:gd name="T35" fmla="*/ 108 h 480"/>
                <a:gd name="T36" fmla="*/ 354 w 396"/>
                <a:gd name="T37" fmla="*/ 252 h 480"/>
                <a:gd name="T38" fmla="*/ 378 w 396"/>
                <a:gd name="T39" fmla="*/ 336 h 480"/>
                <a:gd name="T40" fmla="*/ 372 w 396"/>
                <a:gd name="T41" fmla="*/ 342 h 480"/>
                <a:gd name="T42" fmla="*/ 366 w 396"/>
                <a:gd name="T43" fmla="*/ 348 h 480"/>
                <a:gd name="T44" fmla="*/ 354 w 396"/>
                <a:gd name="T45" fmla="*/ 348 h 480"/>
                <a:gd name="T46" fmla="*/ 348 w 396"/>
                <a:gd name="T47" fmla="*/ 354 h 480"/>
                <a:gd name="T48" fmla="*/ 354 w 396"/>
                <a:gd name="T49" fmla="*/ 360 h 480"/>
                <a:gd name="T50" fmla="*/ 354 w 396"/>
                <a:gd name="T51" fmla="*/ 360 h 480"/>
                <a:gd name="T52" fmla="*/ 342 w 396"/>
                <a:gd name="T53" fmla="*/ 360 h 480"/>
                <a:gd name="T54" fmla="*/ 348 w 396"/>
                <a:gd name="T55" fmla="*/ 366 h 480"/>
                <a:gd name="T56" fmla="*/ 330 w 396"/>
                <a:gd name="T57" fmla="*/ 378 h 480"/>
                <a:gd name="T58" fmla="*/ 312 w 396"/>
                <a:gd name="T59" fmla="*/ 384 h 480"/>
                <a:gd name="T60" fmla="*/ 312 w 396"/>
                <a:gd name="T61" fmla="*/ 396 h 480"/>
                <a:gd name="T62" fmla="*/ 306 w 396"/>
                <a:gd name="T63" fmla="*/ 414 h 480"/>
                <a:gd name="T64" fmla="*/ 306 w 396"/>
                <a:gd name="T65" fmla="*/ 414 h 480"/>
                <a:gd name="T66" fmla="*/ 300 w 396"/>
                <a:gd name="T67" fmla="*/ 426 h 480"/>
                <a:gd name="T68" fmla="*/ 300 w 396"/>
                <a:gd name="T69" fmla="*/ 432 h 480"/>
                <a:gd name="T70" fmla="*/ 294 w 396"/>
                <a:gd name="T71" fmla="*/ 444 h 480"/>
                <a:gd name="T72" fmla="*/ 288 w 396"/>
                <a:gd name="T73" fmla="*/ 450 h 480"/>
                <a:gd name="T74" fmla="*/ 282 w 396"/>
                <a:gd name="T75" fmla="*/ 468 h 480"/>
                <a:gd name="T76" fmla="*/ 276 w 396"/>
                <a:gd name="T77" fmla="*/ 474 h 480"/>
                <a:gd name="T78" fmla="*/ 270 w 396"/>
                <a:gd name="T79" fmla="*/ 480 h 480"/>
                <a:gd name="T80" fmla="*/ 270 w 396"/>
                <a:gd name="T81" fmla="*/ 480 h 480"/>
                <a:gd name="T82" fmla="*/ 204 w 396"/>
                <a:gd name="T83" fmla="*/ 438 h 480"/>
                <a:gd name="T84" fmla="*/ 186 w 396"/>
                <a:gd name="T85" fmla="*/ 420 h 480"/>
                <a:gd name="T86" fmla="*/ 180 w 396"/>
                <a:gd name="T87" fmla="*/ 396 h 480"/>
                <a:gd name="T88" fmla="*/ 96 w 396"/>
                <a:gd name="T89" fmla="*/ 348 h 480"/>
                <a:gd name="T90" fmla="*/ 0 w 396"/>
                <a:gd name="T91" fmla="*/ 300 h 480"/>
                <a:gd name="T92" fmla="*/ 6 w 396"/>
                <a:gd name="T93" fmla="*/ 258 h 480"/>
                <a:gd name="T94" fmla="*/ 12 w 396"/>
                <a:gd name="T95" fmla="*/ 234 h 480"/>
                <a:gd name="T96" fmla="*/ 24 w 396"/>
                <a:gd name="T97" fmla="*/ 216 h 480"/>
                <a:gd name="T98" fmla="*/ 30 w 396"/>
                <a:gd name="T99" fmla="*/ 198 h 480"/>
                <a:gd name="T100" fmla="*/ 42 w 396"/>
                <a:gd name="T101" fmla="*/ 186 h 480"/>
                <a:gd name="T102" fmla="*/ 48 w 396"/>
                <a:gd name="T103" fmla="*/ 180 h 480"/>
                <a:gd name="T104" fmla="*/ 60 w 396"/>
                <a:gd name="T105" fmla="*/ 156 h 480"/>
                <a:gd name="T106" fmla="*/ 54 w 396"/>
                <a:gd name="T107" fmla="*/ 126 h 480"/>
                <a:gd name="T108" fmla="*/ 36 w 396"/>
                <a:gd name="T109" fmla="*/ 108 h 480"/>
                <a:gd name="T110" fmla="*/ 30 w 396"/>
                <a:gd name="T111" fmla="*/ 90 h 480"/>
                <a:gd name="T112" fmla="*/ 30 w 396"/>
                <a:gd name="T113" fmla="*/ 78 h 480"/>
                <a:gd name="T114" fmla="*/ 30 w 396"/>
                <a:gd name="T115" fmla="*/ 66 h 480"/>
                <a:gd name="T116" fmla="*/ 12 w 396"/>
                <a:gd name="T117" fmla="*/ 60 h 480"/>
                <a:gd name="T118" fmla="*/ 18 w 396"/>
                <a:gd name="T119" fmla="*/ 54 h 480"/>
                <a:gd name="T120" fmla="*/ 12 w 396"/>
                <a:gd name="T121" fmla="*/ 42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96"/>
                <a:gd name="T184" fmla="*/ 0 h 480"/>
                <a:gd name="T185" fmla="*/ 396 w 396"/>
                <a:gd name="T186" fmla="*/ 480 h 4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39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3819" y="1825"/>
              <a:ext cx="72" cy="77"/>
            </a:xfrm>
            <a:custGeom>
              <a:avLst/>
              <a:gdLst>
                <a:gd name="T0" fmla="*/ 42 w 84"/>
                <a:gd name="T1" fmla="*/ 12 h 90"/>
                <a:gd name="T2" fmla="*/ 54 w 84"/>
                <a:gd name="T3" fmla="*/ 18 h 90"/>
                <a:gd name="T4" fmla="*/ 54 w 84"/>
                <a:gd name="T5" fmla="*/ 6 h 90"/>
                <a:gd name="T6" fmla="*/ 66 w 84"/>
                <a:gd name="T7" fmla="*/ 6 h 90"/>
                <a:gd name="T8" fmla="*/ 72 w 84"/>
                <a:gd name="T9" fmla="*/ 6 h 90"/>
                <a:gd name="T10" fmla="*/ 78 w 84"/>
                <a:gd name="T11" fmla="*/ 18 h 90"/>
                <a:gd name="T12" fmla="*/ 84 w 84"/>
                <a:gd name="T13" fmla="*/ 24 h 90"/>
                <a:gd name="T14" fmla="*/ 84 w 84"/>
                <a:gd name="T15" fmla="*/ 36 h 90"/>
                <a:gd name="T16" fmla="*/ 78 w 84"/>
                <a:gd name="T17" fmla="*/ 42 h 90"/>
                <a:gd name="T18" fmla="*/ 66 w 84"/>
                <a:gd name="T19" fmla="*/ 42 h 90"/>
                <a:gd name="T20" fmla="*/ 60 w 84"/>
                <a:gd name="T21" fmla="*/ 48 h 90"/>
                <a:gd name="T22" fmla="*/ 54 w 84"/>
                <a:gd name="T23" fmla="*/ 54 h 90"/>
                <a:gd name="T24" fmla="*/ 48 w 84"/>
                <a:gd name="T25" fmla="*/ 60 h 90"/>
                <a:gd name="T26" fmla="*/ 42 w 84"/>
                <a:gd name="T27" fmla="*/ 66 h 90"/>
                <a:gd name="T28" fmla="*/ 48 w 84"/>
                <a:gd name="T29" fmla="*/ 60 h 90"/>
                <a:gd name="T30" fmla="*/ 60 w 84"/>
                <a:gd name="T31" fmla="*/ 60 h 90"/>
                <a:gd name="T32" fmla="*/ 72 w 84"/>
                <a:gd name="T33" fmla="*/ 60 h 90"/>
                <a:gd name="T34" fmla="*/ 72 w 84"/>
                <a:gd name="T35" fmla="*/ 60 h 90"/>
                <a:gd name="T36" fmla="*/ 78 w 84"/>
                <a:gd name="T37" fmla="*/ 66 h 90"/>
                <a:gd name="T38" fmla="*/ 60 w 84"/>
                <a:gd name="T39" fmla="*/ 84 h 90"/>
                <a:gd name="T40" fmla="*/ 54 w 84"/>
                <a:gd name="T41" fmla="*/ 90 h 90"/>
                <a:gd name="T42" fmla="*/ 48 w 84"/>
                <a:gd name="T43" fmla="*/ 84 h 90"/>
                <a:gd name="T44" fmla="*/ 36 w 84"/>
                <a:gd name="T45" fmla="*/ 84 h 90"/>
                <a:gd name="T46" fmla="*/ 30 w 84"/>
                <a:gd name="T47" fmla="*/ 90 h 90"/>
                <a:gd name="T48" fmla="*/ 18 w 84"/>
                <a:gd name="T49" fmla="*/ 90 h 90"/>
                <a:gd name="T50" fmla="*/ 6 w 84"/>
                <a:gd name="T51" fmla="*/ 90 h 90"/>
                <a:gd name="T52" fmla="*/ 6 w 84"/>
                <a:gd name="T53" fmla="*/ 72 h 90"/>
                <a:gd name="T54" fmla="*/ 0 w 84"/>
                <a:gd name="T55" fmla="*/ 60 h 90"/>
                <a:gd name="T56" fmla="*/ 6 w 84"/>
                <a:gd name="T57" fmla="*/ 54 h 90"/>
                <a:gd name="T58" fmla="*/ 12 w 84"/>
                <a:gd name="T59" fmla="*/ 48 h 90"/>
                <a:gd name="T60" fmla="*/ 24 w 84"/>
                <a:gd name="T61" fmla="*/ 36 h 90"/>
                <a:gd name="T62" fmla="*/ 24 w 84"/>
                <a:gd name="T63" fmla="*/ 24 h 90"/>
                <a:gd name="T64" fmla="*/ 30 w 84"/>
                <a:gd name="T65" fmla="*/ 18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4"/>
                <a:gd name="T100" fmla="*/ 0 h 90"/>
                <a:gd name="T101" fmla="*/ 84 w 84"/>
                <a:gd name="T102" fmla="*/ 90 h 9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40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3335" y="2801"/>
              <a:ext cx="443" cy="699"/>
            </a:xfrm>
            <a:custGeom>
              <a:avLst/>
              <a:gdLst>
                <a:gd name="T0" fmla="*/ 300 w 884"/>
                <a:gd name="T1" fmla="*/ 343 h 1393"/>
                <a:gd name="T2" fmla="*/ 359 w 884"/>
                <a:gd name="T3" fmla="*/ 364 h 1393"/>
                <a:gd name="T4" fmla="*/ 354 w 884"/>
                <a:gd name="T5" fmla="*/ 434 h 1393"/>
                <a:gd name="T6" fmla="*/ 364 w 884"/>
                <a:gd name="T7" fmla="*/ 504 h 1393"/>
                <a:gd name="T8" fmla="*/ 413 w 884"/>
                <a:gd name="T9" fmla="*/ 552 h 1393"/>
                <a:gd name="T10" fmla="*/ 413 w 884"/>
                <a:gd name="T11" fmla="*/ 514 h 1393"/>
                <a:gd name="T12" fmla="*/ 461 w 884"/>
                <a:gd name="T13" fmla="*/ 477 h 1393"/>
                <a:gd name="T14" fmla="*/ 359 w 884"/>
                <a:gd name="T15" fmla="*/ 235 h 1393"/>
                <a:gd name="T16" fmla="*/ 434 w 884"/>
                <a:gd name="T17" fmla="*/ 91 h 1393"/>
                <a:gd name="T18" fmla="*/ 493 w 884"/>
                <a:gd name="T19" fmla="*/ 96 h 1393"/>
                <a:gd name="T20" fmla="*/ 568 w 884"/>
                <a:gd name="T21" fmla="*/ 91 h 1393"/>
                <a:gd name="T22" fmla="*/ 638 w 884"/>
                <a:gd name="T23" fmla="*/ 80 h 1393"/>
                <a:gd name="T24" fmla="*/ 702 w 884"/>
                <a:gd name="T25" fmla="*/ 69 h 1393"/>
                <a:gd name="T26" fmla="*/ 788 w 884"/>
                <a:gd name="T27" fmla="*/ 37 h 1393"/>
                <a:gd name="T28" fmla="*/ 857 w 884"/>
                <a:gd name="T29" fmla="*/ 10 h 1393"/>
                <a:gd name="T30" fmla="*/ 857 w 884"/>
                <a:gd name="T31" fmla="*/ 53 h 1393"/>
                <a:gd name="T32" fmla="*/ 847 w 884"/>
                <a:gd name="T33" fmla="*/ 101 h 1393"/>
                <a:gd name="T34" fmla="*/ 857 w 884"/>
                <a:gd name="T35" fmla="*/ 150 h 1393"/>
                <a:gd name="T36" fmla="*/ 852 w 884"/>
                <a:gd name="T37" fmla="*/ 177 h 1393"/>
                <a:gd name="T38" fmla="*/ 852 w 884"/>
                <a:gd name="T39" fmla="*/ 203 h 1393"/>
                <a:gd name="T40" fmla="*/ 863 w 884"/>
                <a:gd name="T41" fmla="*/ 241 h 1393"/>
                <a:gd name="T42" fmla="*/ 868 w 884"/>
                <a:gd name="T43" fmla="*/ 305 h 1393"/>
                <a:gd name="T44" fmla="*/ 863 w 884"/>
                <a:gd name="T45" fmla="*/ 343 h 1393"/>
                <a:gd name="T46" fmla="*/ 879 w 884"/>
                <a:gd name="T47" fmla="*/ 370 h 1393"/>
                <a:gd name="T48" fmla="*/ 868 w 884"/>
                <a:gd name="T49" fmla="*/ 391 h 1393"/>
                <a:gd name="T50" fmla="*/ 857 w 884"/>
                <a:gd name="T51" fmla="*/ 423 h 1393"/>
                <a:gd name="T52" fmla="*/ 820 w 884"/>
                <a:gd name="T53" fmla="*/ 471 h 1393"/>
                <a:gd name="T54" fmla="*/ 799 w 884"/>
                <a:gd name="T55" fmla="*/ 493 h 1393"/>
                <a:gd name="T56" fmla="*/ 782 w 884"/>
                <a:gd name="T57" fmla="*/ 520 h 1393"/>
                <a:gd name="T58" fmla="*/ 702 w 884"/>
                <a:gd name="T59" fmla="*/ 557 h 1393"/>
                <a:gd name="T60" fmla="*/ 659 w 884"/>
                <a:gd name="T61" fmla="*/ 573 h 1393"/>
                <a:gd name="T62" fmla="*/ 606 w 884"/>
                <a:gd name="T63" fmla="*/ 605 h 1393"/>
                <a:gd name="T64" fmla="*/ 552 w 884"/>
                <a:gd name="T65" fmla="*/ 654 h 1393"/>
                <a:gd name="T66" fmla="*/ 525 w 884"/>
                <a:gd name="T67" fmla="*/ 686 h 1393"/>
                <a:gd name="T68" fmla="*/ 493 w 884"/>
                <a:gd name="T69" fmla="*/ 713 h 1393"/>
                <a:gd name="T70" fmla="*/ 450 w 884"/>
                <a:gd name="T71" fmla="*/ 739 h 1393"/>
                <a:gd name="T72" fmla="*/ 429 w 884"/>
                <a:gd name="T73" fmla="*/ 766 h 1393"/>
                <a:gd name="T74" fmla="*/ 391 w 884"/>
                <a:gd name="T75" fmla="*/ 798 h 1393"/>
                <a:gd name="T76" fmla="*/ 380 w 884"/>
                <a:gd name="T77" fmla="*/ 825 h 1393"/>
                <a:gd name="T78" fmla="*/ 364 w 884"/>
                <a:gd name="T79" fmla="*/ 852 h 1393"/>
                <a:gd name="T80" fmla="*/ 386 w 884"/>
                <a:gd name="T81" fmla="*/ 868 h 1393"/>
                <a:gd name="T82" fmla="*/ 402 w 884"/>
                <a:gd name="T83" fmla="*/ 895 h 1393"/>
                <a:gd name="T84" fmla="*/ 407 w 884"/>
                <a:gd name="T85" fmla="*/ 911 h 1393"/>
                <a:gd name="T86" fmla="*/ 423 w 884"/>
                <a:gd name="T87" fmla="*/ 970 h 1393"/>
                <a:gd name="T88" fmla="*/ 445 w 884"/>
                <a:gd name="T89" fmla="*/ 997 h 1393"/>
                <a:gd name="T90" fmla="*/ 439 w 884"/>
                <a:gd name="T91" fmla="*/ 1088 h 1393"/>
                <a:gd name="T92" fmla="*/ 429 w 884"/>
                <a:gd name="T93" fmla="*/ 1141 h 1393"/>
                <a:gd name="T94" fmla="*/ 413 w 884"/>
                <a:gd name="T95" fmla="*/ 1195 h 1393"/>
                <a:gd name="T96" fmla="*/ 273 w 884"/>
                <a:gd name="T97" fmla="*/ 1254 h 1393"/>
                <a:gd name="T98" fmla="*/ 209 w 884"/>
                <a:gd name="T99" fmla="*/ 1308 h 1393"/>
                <a:gd name="T100" fmla="*/ 203 w 884"/>
                <a:gd name="T101" fmla="*/ 1334 h 1393"/>
                <a:gd name="T102" fmla="*/ 220 w 884"/>
                <a:gd name="T103" fmla="*/ 1393 h 1393"/>
                <a:gd name="T104" fmla="*/ 150 w 884"/>
                <a:gd name="T105" fmla="*/ 1292 h 1393"/>
                <a:gd name="T106" fmla="*/ 123 w 884"/>
                <a:gd name="T107" fmla="*/ 1125 h 1393"/>
                <a:gd name="T108" fmla="*/ 193 w 884"/>
                <a:gd name="T109" fmla="*/ 889 h 1393"/>
                <a:gd name="T110" fmla="*/ 236 w 884"/>
                <a:gd name="T111" fmla="*/ 793 h 1393"/>
                <a:gd name="T112" fmla="*/ 209 w 884"/>
                <a:gd name="T113" fmla="*/ 729 h 1393"/>
                <a:gd name="T114" fmla="*/ 230 w 884"/>
                <a:gd name="T115" fmla="*/ 659 h 1393"/>
                <a:gd name="T116" fmla="*/ 230 w 884"/>
                <a:gd name="T117" fmla="*/ 600 h 1393"/>
                <a:gd name="T118" fmla="*/ 182 w 884"/>
                <a:gd name="T119" fmla="*/ 509 h 1393"/>
                <a:gd name="T120" fmla="*/ 80 w 884"/>
                <a:gd name="T121" fmla="*/ 466 h 1393"/>
                <a:gd name="T122" fmla="*/ 5 w 884"/>
                <a:gd name="T123" fmla="*/ 396 h 1393"/>
                <a:gd name="T124" fmla="*/ 198 w 884"/>
                <a:gd name="T125" fmla="*/ 316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84"/>
                <a:gd name="T190" fmla="*/ 0 h 1393"/>
                <a:gd name="T191" fmla="*/ 884 w 884"/>
                <a:gd name="T192" fmla="*/ 1393 h 13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9" name="Group 41"/>
            <p:cNvGrpSpPr>
              <a:grpSpLocks/>
            </p:cNvGrpSpPr>
            <p:nvPr/>
          </p:nvGrpSpPr>
          <p:grpSpPr bwMode="auto">
            <a:xfrm>
              <a:off x="2555" y="2549"/>
              <a:ext cx="520" cy="577"/>
              <a:chOff x="2555" y="2549"/>
              <a:chExt cx="520" cy="577"/>
            </a:xfrm>
            <a:grpFill/>
          </p:grpSpPr>
          <p:sp>
            <p:nvSpPr>
              <p:cNvPr id="168" name="Freeform 4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102 w 612"/>
                  <a:gd name="T1" fmla="*/ 0 h 606"/>
                  <a:gd name="T2" fmla="*/ 144 w 612"/>
                  <a:gd name="T3" fmla="*/ 0 h 606"/>
                  <a:gd name="T4" fmla="*/ 228 w 612"/>
                  <a:gd name="T5" fmla="*/ 0 h 606"/>
                  <a:gd name="T6" fmla="*/ 246 w 612"/>
                  <a:gd name="T7" fmla="*/ 24 h 606"/>
                  <a:gd name="T8" fmla="*/ 258 w 612"/>
                  <a:gd name="T9" fmla="*/ 54 h 606"/>
                  <a:gd name="T10" fmla="*/ 270 w 612"/>
                  <a:gd name="T11" fmla="*/ 84 h 606"/>
                  <a:gd name="T12" fmla="*/ 288 w 612"/>
                  <a:gd name="T13" fmla="*/ 108 h 606"/>
                  <a:gd name="T14" fmla="*/ 312 w 612"/>
                  <a:gd name="T15" fmla="*/ 108 h 606"/>
                  <a:gd name="T16" fmla="*/ 348 w 612"/>
                  <a:gd name="T17" fmla="*/ 108 h 606"/>
                  <a:gd name="T18" fmla="*/ 384 w 612"/>
                  <a:gd name="T19" fmla="*/ 78 h 606"/>
                  <a:gd name="T20" fmla="*/ 426 w 612"/>
                  <a:gd name="T21" fmla="*/ 54 h 606"/>
                  <a:gd name="T22" fmla="*/ 498 w 612"/>
                  <a:gd name="T23" fmla="*/ 78 h 606"/>
                  <a:gd name="T24" fmla="*/ 498 w 612"/>
                  <a:gd name="T25" fmla="*/ 90 h 606"/>
                  <a:gd name="T26" fmla="*/ 504 w 612"/>
                  <a:gd name="T27" fmla="*/ 132 h 606"/>
                  <a:gd name="T28" fmla="*/ 504 w 612"/>
                  <a:gd name="T29" fmla="*/ 168 h 606"/>
                  <a:gd name="T30" fmla="*/ 510 w 612"/>
                  <a:gd name="T31" fmla="*/ 192 h 606"/>
                  <a:gd name="T32" fmla="*/ 522 w 612"/>
                  <a:gd name="T33" fmla="*/ 228 h 606"/>
                  <a:gd name="T34" fmla="*/ 516 w 612"/>
                  <a:gd name="T35" fmla="*/ 252 h 606"/>
                  <a:gd name="T36" fmla="*/ 534 w 612"/>
                  <a:gd name="T37" fmla="*/ 258 h 606"/>
                  <a:gd name="T38" fmla="*/ 564 w 612"/>
                  <a:gd name="T39" fmla="*/ 264 h 606"/>
                  <a:gd name="T40" fmla="*/ 588 w 612"/>
                  <a:gd name="T41" fmla="*/ 258 h 606"/>
                  <a:gd name="T42" fmla="*/ 612 w 612"/>
                  <a:gd name="T43" fmla="*/ 264 h 606"/>
                  <a:gd name="T44" fmla="*/ 612 w 612"/>
                  <a:gd name="T45" fmla="*/ 294 h 606"/>
                  <a:gd name="T46" fmla="*/ 612 w 612"/>
                  <a:gd name="T47" fmla="*/ 330 h 606"/>
                  <a:gd name="T48" fmla="*/ 510 w 612"/>
                  <a:gd name="T49" fmla="*/ 516 h 606"/>
                  <a:gd name="T50" fmla="*/ 540 w 612"/>
                  <a:gd name="T51" fmla="*/ 552 h 606"/>
                  <a:gd name="T52" fmla="*/ 564 w 612"/>
                  <a:gd name="T53" fmla="*/ 576 h 606"/>
                  <a:gd name="T54" fmla="*/ 480 w 612"/>
                  <a:gd name="T55" fmla="*/ 606 h 606"/>
                  <a:gd name="T56" fmla="*/ 444 w 612"/>
                  <a:gd name="T57" fmla="*/ 606 h 606"/>
                  <a:gd name="T58" fmla="*/ 420 w 612"/>
                  <a:gd name="T59" fmla="*/ 600 h 606"/>
                  <a:gd name="T60" fmla="*/ 390 w 612"/>
                  <a:gd name="T61" fmla="*/ 594 h 606"/>
                  <a:gd name="T62" fmla="*/ 384 w 612"/>
                  <a:gd name="T63" fmla="*/ 594 h 606"/>
                  <a:gd name="T64" fmla="*/ 354 w 612"/>
                  <a:gd name="T65" fmla="*/ 594 h 606"/>
                  <a:gd name="T66" fmla="*/ 330 w 612"/>
                  <a:gd name="T67" fmla="*/ 576 h 606"/>
                  <a:gd name="T68" fmla="*/ 108 w 612"/>
                  <a:gd name="T69" fmla="*/ 576 h 606"/>
                  <a:gd name="T70" fmla="*/ 84 w 612"/>
                  <a:gd name="T71" fmla="*/ 558 h 606"/>
                  <a:gd name="T72" fmla="*/ 60 w 612"/>
                  <a:gd name="T73" fmla="*/ 552 h 606"/>
                  <a:gd name="T74" fmla="*/ 36 w 612"/>
                  <a:gd name="T75" fmla="*/ 564 h 606"/>
                  <a:gd name="T76" fmla="*/ 0 w 612"/>
                  <a:gd name="T77" fmla="*/ 570 h 606"/>
                  <a:gd name="T78" fmla="*/ 0 w 612"/>
                  <a:gd name="T79" fmla="*/ 522 h 606"/>
                  <a:gd name="T80" fmla="*/ 6 w 612"/>
                  <a:gd name="T81" fmla="*/ 492 h 606"/>
                  <a:gd name="T82" fmla="*/ 18 w 612"/>
                  <a:gd name="T83" fmla="*/ 456 h 606"/>
                  <a:gd name="T84" fmla="*/ 30 w 612"/>
                  <a:gd name="T85" fmla="*/ 426 h 606"/>
                  <a:gd name="T86" fmla="*/ 30 w 612"/>
                  <a:gd name="T87" fmla="*/ 396 h 606"/>
                  <a:gd name="T88" fmla="*/ 36 w 612"/>
                  <a:gd name="T89" fmla="*/ 384 h 606"/>
                  <a:gd name="T90" fmla="*/ 42 w 612"/>
                  <a:gd name="T91" fmla="*/ 372 h 606"/>
                  <a:gd name="T92" fmla="*/ 66 w 612"/>
                  <a:gd name="T93" fmla="*/ 342 h 606"/>
                  <a:gd name="T94" fmla="*/ 84 w 612"/>
                  <a:gd name="T95" fmla="*/ 330 h 606"/>
                  <a:gd name="T96" fmla="*/ 96 w 612"/>
                  <a:gd name="T97" fmla="*/ 312 h 606"/>
                  <a:gd name="T98" fmla="*/ 102 w 612"/>
                  <a:gd name="T99" fmla="*/ 276 h 606"/>
                  <a:gd name="T100" fmla="*/ 96 w 612"/>
                  <a:gd name="T101" fmla="*/ 240 h 606"/>
                  <a:gd name="T102" fmla="*/ 90 w 612"/>
                  <a:gd name="T103" fmla="*/ 216 h 606"/>
                  <a:gd name="T104" fmla="*/ 72 w 612"/>
                  <a:gd name="T105" fmla="*/ 192 h 606"/>
                  <a:gd name="T106" fmla="*/ 60 w 612"/>
                  <a:gd name="T107" fmla="*/ 156 h 606"/>
                  <a:gd name="T108" fmla="*/ 60 w 612"/>
                  <a:gd name="T109" fmla="*/ 162 h 606"/>
                  <a:gd name="T110" fmla="*/ 84 w 612"/>
                  <a:gd name="T111" fmla="*/ 138 h 606"/>
                  <a:gd name="T112" fmla="*/ 78 w 612"/>
                  <a:gd name="T113" fmla="*/ 120 h 606"/>
                  <a:gd name="T114" fmla="*/ 66 w 612"/>
                  <a:gd name="T115" fmla="*/ 90 h 606"/>
                  <a:gd name="T116" fmla="*/ 54 w 612"/>
                  <a:gd name="T117" fmla="*/ 60 h 606"/>
                  <a:gd name="T118" fmla="*/ 36 w 612"/>
                  <a:gd name="T119" fmla="*/ 30 h 606"/>
                  <a:gd name="T120" fmla="*/ 24 w 612"/>
                  <a:gd name="T121" fmla="*/ 12 h 606"/>
                  <a:gd name="T122" fmla="*/ 54 w 612"/>
                  <a:gd name="T123" fmla="*/ 12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12"/>
                  <a:gd name="T187" fmla="*/ 0 h 606"/>
                  <a:gd name="T188" fmla="*/ 612 w 612"/>
                  <a:gd name="T189" fmla="*/ 606 h 60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9" name="Freeform 4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30 h 66"/>
                  <a:gd name="T2" fmla="*/ 6 w 54"/>
                  <a:gd name="T3" fmla="*/ 24 h 66"/>
                  <a:gd name="T4" fmla="*/ 12 w 54"/>
                  <a:gd name="T5" fmla="*/ 18 h 66"/>
                  <a:gd name="T6" fmla="*/ 18 w 54"/>
                  <a:gd name="T7" fmla="*/ 18 h 66"/>
                  <a:gd name="T8" fmla="*/ 18 w 54"/>
                  <a:gd name="T9" fmla="*/ 12 h 66"/>
                  <a:gd name="T10" fmla="*/ 24 w 54"/>
                  <a:gd name="T11" fmla="*/ 12 h 66"/>
                  <a:gd name="T12" fmla="*/ 30 w 54"/>
                  <a:gd name="T13" fmla="*/ 6 h 66"/>
                  <a:gd name="T14" fmla="*/ 36 w 54"/>
                  <a:gd name="T15" fmla="*/ 6 h 66"/>
                  <a:gd name="T16" fmla="*/ 36 w 54"/>
                  <a:gd name="T17" fmla="*/ 0 h 66"/>
                  <a:gd name="T18" fmla="*/ 42 w 54"/>
                  <a:gd name="T19" fmla="*/ 0 h 66"/>
                  <a:gd name="T20" fmla="*/ 42 w 54"/>
                  <a:gd name="T21" fmla="*/ 6 h 66"/>
                  <a:gd name="T22" fmla="*/ 48 w 54"/>
                  <a:gd name="T23" fmla="*/ 6 h 66"/>
                  <a:gd name="T24" fmla="*/ 48 w 54"/>
                  <a:gd name="T25" fmla="*/ 12 h 66"/>
                  <a:gd name="T26" fmla="*/ 54 w 54"/>
                  <a:gd name="T27" fmla="*/ 12 h 66"/>
                  <a:gd name="T28" fmla="*/ 48 w 54"/>
                  <a:gd name="T29" fmla="*/ 12 h 66"/>
                  <a:gd name="T30" fmla="*/ 48 w 54"/>
                  <a:gd name="T31" fmla="*/ 18 h 66"/>
                  <a:gd name="T32" fmla="*/ 42 w 54"/>
                  <a:gd name="T33" fmla="*/ 18 h 66"/>
                  <a:gd name="T34" fmla="*/ 42 w 54"/>
                  <a:gd name="T35" fmla="*/ 24 h 66"/>
                  <a:gd name="T36" fmla="*/ 36 w 54"/>
                  <a:gd name="T37" fmla="*/ 24 h 66"/>
                  <a:gd name="T38" fmla="*/ 36 w 54"/>
                  <a:gd name="T39" fmla="*/ 30 h 66"/>
                  <a:gd name="T40" fmla="*/ 36 w 54"/>
                  <a:gd name="T41" fmla="*/ 24 h 66"/>
                  <a:gd name="T42" fmla="*/ 36 w 54"/>
                  <a:gd name="T43" fmla="*/ 30 h 66"/>
                  <a:gd name="T44" fmla="*/ 30 w 54"/>
                  <a:gd name="T45" fmla="*/ 30 h 66"/>
                  <a:gd name="T46" fmla="*/ 24 w 54"/>
                  <a:gd name="T47" fmla="*/ 30 h 66"/>
                  <a:gd name="T48" fmla="*/ 24 w 54"/>
                  <a:gd name="T49" fmla="*/ 36 h 66"/>
                  <a:gd name="T50" fmla="*/ 24 w 54"/>
                  <a:gd name="T51" fmla="*/ 42 h 66"/>
                  <a:gd name="T52" fmla="*/ 24 w 54"/>
                  <a:gd name="T53" fmla="*/ 66 h 66"/>
                  <a:gd name="T54" fmla="*/ 12 w 54"/>
                  <a:gd name="T55" fmla="*/ 66 h 66"/>
                  <a:gd name="T56" fmla="*/ 6 w 54"/>
                  <a:gd name="T57" fmla="*/ 66 h 66"/>
                  <a:gd name="T58" fmla="*/ 6 w 54"/>
                  <a:gd name="T59" fmla="*/ 60 h 66"/>
                  <a:gd name="T60" fmla="*/ 6 w 54"/>
                  <a:gd name="T61" fmla="*/ 54 h 66"/>
                  <a:gd name="T62" fmla="*/ 12 w 54"/>
                  <a:gd name="T63" fmla="*/ 54 h 66"/>
                  <a:gd name="T64" fmla="*/ 12 w 54"/>
                  <a:gd name="T65" fmla="*/ 48 h 66"/>
                  <a:gd name="T66" fmla="*/ 6 w 54"/>
                  <a:gd name="T67" fmla="*/ 48 h 66"/>
                  <a:gd name="T68" fmla="*/ 6 w 54"/>
                  <a:gd name="T69" fmla="*/ 42 h 66"/>
                  <a:gd name="T70" fmla="*/ 6 w 54"/>
                  <a:gd name="T71" fmla="*/ 36 h 66"/>
                  <a:gd name="T72" fmla="*/ 0 w 54"/>
                  <a:gd name="T73" fmla="*/ 3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"/>
                  <a:gd name="T112" fmla="*/ 0 h 66"/>
                  <a:gd name="T113" fmla="*/ 54 w 5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0" name="Freeform 44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2988" y="2713"/>
              <a:ext cx="495" cy="413"/>
            </a:xfrm>
            <a:custGeom>
              <a:avLst/>
              <a:gdLst>
                <a:gd name="T0" fmla="*/ 120 w 582"/>
                <a:gd name="T1" fmla="*/ 144 h 486"/>
                <a:gd name="T2" fmla="*/ 126 w 582"/>
                <a:gd name="T3" fmla="*/ 156 h 486"/>
                <a:gd name="T4" fmla="*/ 162 w 582"/>
                <a:gd name="T5" fmla="*/ 144 h 486"/>
                <a:gd name="T6" fmla="*/ 174 w 582"/>
                <a:gd name="T7" fmla="*/ 174 h 486"/>
                <a:gd name="T8" fmla="*/ 210 w 582"/>
                <a:gd name="T9" fmla="*/ 180 h 486"/>
                <a:gd name="T10" fmla="*/ 234 w 582"/>
                <a:gd name="T11" fmla="*/ 186 h 486"/>
                <a:gd name="T12" fmla="*/ 258 w 582"/>
                <a:gd name="T13" fmla="*/ 162 h 486"/>
                <a:gd name="T14" fmla="*/ 270 w 582"/>
                <a:gd name="T15" fmla="*/ 192 h 486"/>
                <a:gd name="T16" fmla="*/ 300 w 582"/>
                <a:gd name="T17" fmla="*/ 210 h 486"/>
                <a:gd name="T18" fmla="*/ 318 w 582"/>
                <a:gd name="T19" fmla="*/ 222 h 486"/>
                <a:gd name="T20" fmla="*/ 342 w 582"/>
                <a:gd name="T21" fmla="*/ 246 h 486"/>
                <a:gd name="T22" fmla="*/ 360 w 582"/>
                <a:gd name="T23" fmla="*/ 258 h 486"/>
                <a:gd name="T24" fmla="*/ 384 w 582"/>
                <a:gd name="T25" fmla="*/ 258 h 486"/>
                <a:gd name="T26" fmla="*/ 366 w 582"/>
                <a:gd name="T27" fmla="*/ 204 h 486"/>
                <a:gd name="T28" fmla="*/ 336 w 582"/>
                <a:gd name="T29" fmla="*/ 192 h 486"/>
                <a:gd name="T30" fmla="*/ 318 w 582"/>
                <a:gd name="T31" fmla="*/ 174 h 486"/>
                <a:gd name="T32" fmla="*/ 318 w 582"/>
                <a:gd name="T33" fmla="*/ 144 h 486"/>
                <a:gd name="T34" fmla="*/ 330 w 582"/>
                <a:gd name="T35" fmla="*/ 114 h 486"/>
                <a:gd name="T36" fmla="*/ 330 w 582"/>
                <a:gd name="T37" fmla="*/ 84 h 486"/>
                <a:gd name="T38" fmla="*/ 324 w 582"/>
                <a:gd name="T39" fmla="*/ 66 h 486"/>
                <a:gd name="T40" fmla="*/ 318 w 582"/>
                <a:gd name="T41" fmla="*/ 48 h 486"/>
                <a:gd name="T42" fmla="*/ 342 w 582"/>
                <a:gd name="T43" fmla="*/ 12 h 486"/>
                <a:gd name="T44" fmla="*/ 432 w 582"/>
                <a:gd name="T45" fmla="*/ 0 h 486"/>
                <a:gd name="T46" fmla="*/ 468 w 582"/>
                <a:gd name="T47" fmla="*/ 18 h 486"/>
                <a:gd name="T48" fmla="*/ 492 w 582"/>
                <a:gd name="T49" fmla="*/ 36 h 486"/>
                <a:gd name="T50" fmla="*/ 522 w 582"/>
                <a:gd name="T51" fmla="*/ 48 h 486"/>
                <a:gd name="T52" fmla="*/ 546 w 582"/>
                <a:gd name="T53" fmla="*/ 66 h 486"/>
                <a:gd name="T54" fmla="*/ 564 w 582"/>
                <a:gd name="T55" fmla="*/ 78 h 486"/>
                <a:gd name="T56" fmla="*/ 576 w 582"/>
                <a:gd name="T57" fmla="*/ 114 h 486"/>
                <a:gd name="T58" fmla="*/ 558 w 582"/>
                <a:gd name="T59" fmla="*/ 132 h 486"/>
                <a:gd name="T60" fmla="*/ 558 w 582"/>
                <a:gd name="T61" fmla="*/ 162 h 486"/>
                <a:gd name="T62" fmla="*/ 558 w 582"/>
                <a:gd name="T63" fmla="*/ 186 h 486"/>
                <a:gd name="T64" fmla="*/ 564 w 582"/>
                <a:gd name="T65" fmla="*/ 210 h 486"/>
                <a:gd name="T66" fmla="*/ 540 w 582"/>
                <a:gd name="T67" fmla="*/ 228 h 486"/>
                <a:gd name="T68" fmla="*/ 540 w 582"/>
                <a:gd name="T69" fmla="*/ 258 h 486"/>
                <a:gd name="T70" fmla="*/ 540 w 582"/>
                <a:gd name="T71" fmla="*/ 270 h 486"/>
                <a:gd name="T72" fmla="*/ 546 w 582"/>
                <a:gd name="T73" fmla="*/ 282 h 486"/>
                <a:gd name="T74" fmla="*/ 492 w 582"/>
                <a:gd name="T75" fmla="*/ 306 h 486"/>
                <a:gd name="T76" fmla="*/ 426 w 582"/>
                <a:gd name="T77" fmla="*/ 324 h 486"/>
                <a:gd name="T78" fmla="*/ 414 w 582"/>
                <a:gd name="T79" fmla="*/ 354 h 486"/>
                <a:gd name="T80" fmla="*/ 384 w 582"/>
                <a:gd name="T81" fmla="*/ 366 h 486"/>
                <a:gd name="T82" fmla="*/ 348 w 582"/>
                <a:gd name="T83" fmla="*/ 378 h 486"/>
                <a:gd name="T84" fmla="*/ 336 w 582"/>
                <a:gd name="T85" fmla="*/ 390 h 486"/>
                <a:gd name="T86" fmla="*/ 330 w 582"/>
                <a:gd name="T87" fmla="*/ 414 h 486"/>
                <a:gd name="T88" fmla="*/ 264 w 582"/>
                <a:gd name="T89" fmla="*/ 462 h 486"/>
                <a:gd name="T90" fmla="*/ 240 w 582"/>
                <a:gd name="T91" fmla="*/ 480 h 486"/>
                <a:gd name="T92" fmla="*/ 210 w 582"/>
                <a:gd name="T93" fmla="*/ 480 h 486"/>
                <a:gd name="T94" fmla="*/ 186 w 582"/>
                <a:gd name="T95" fmla="*/ 474 h 486"/>
                <a:gd name="T96" fmla="*/ 156 w 582"/>
                <a:gd name="T97" fmla="*/ 474 h 486"/>
                <a:gd name="T98" fmla="*/ 132 w 582"/>
                <a:gd name="T99" fmla="*/ 456 h 486"/>
                <a:gd name="T100" fmla="*/ 72 w 582"/>
                <a:gd name="T101" fmla="*/ 468 h 486"/>
                <a:gd name="T102" fmla="*/ 48 w 582"/>
                <a:gd name="T103" fmla="*/ 450 h 486"/>
                <a:gd name="T104" fmla="*/ 18 w 582"/>
                <a:gd name="T105" fmla="*/ 420 h 486"/>
                <a:gd name="T106" fmla="*/ 102 w 582"/>
                <a:gd name="T107" fmla="*/ 234 h 486"/>
                <a:gd name="T108" fmla="*/ 102 w 582"/>
                <a:gd name="T109" fmla="*/ 198 h 486"/>
                <a:gd name="T110" fmla="*/ 96 w 582"/>
                <a:gd name="T111" fmla="*/ 168 h 486"/>
                <a:gd name="T112" fmla="*/ 96 w 582"/>
                <a:gd name="T113" fmla="*/ 138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82"/>
                <a:gd name="T172" fmla="*/ 0 h 486"/>
                <a:gd name="T173" fmla="*/ 582 w 582"/>
                <a:gd name="T174" fmla="*/ 486 h 4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4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3126" y="3024"/>
              <a:ext cx="326" cy="285"/>
            </a:xfrm>
            <a:custGeom>
              <a:avLst/>
              <a:gdLst>
                <a:gd name="T0" fmla="*/ 12 w 384"/>
                <a:gd name="T1" fmla="*/ 114 h 336"/>
                <a:gd name="T2" fmla="*/ 24 w 384"/>
                <a:gd name="T3" fmla="*/ 114 h 336"/>
                <a:gd name="T4" fmla="*/ 36 w 384"/>
                <a:gd name="T5" fmla="*/ 114 h 336"/>
                <a:gd name="T6" fmla="*/ 60 w 384"/>
                <a:gd name="T7" fmla="*/ 114 h 336"/>
                <a:gd name="T8" fmla="*/ 78 w 384"/>
                <a:gd name="T9" fmla="*/ 120 h 336"/>
                <a:gd name="T10" fmla="*/ 84 w 384"/>
                <a:gd name="T11" fmla="*/ 114 h 336"/>
                <a:gd name="T12" fmla="*/ 102 w 384"/>
                <a:gd name="T13" fmla="*/ 96 h 336"/>
                <a:gd name="T14" fmla="*/ 126 w 384"/>
                <a:gd name="T15" fmla="*/ 66 h 336"/>
                <a:gd name="T16" fmla="*/ 174 w 384"/>
                <a:gd name="T17" fmla="*/ 48 h 336"/>
                <a:gd name="T18" fmla="*/ 180 w 384"/>
                <a:gd name="T19" fmla="*/ 30 h 336"/>
                <a:gd name="T20" fmla="*/ 174 w 384"/>
                <a:gd name="T21" fmla="*/ 24 h 336"/>
                <a:gd name="T22" fmla="*/ 186 w 384"/>
                <a:gd name="T23" fmla="*/ 18 h 336"/>
                <a:gd name="T24" fmla="*/ 204 w 384"/>
                <a:gd name="T25" fmla="*/ 6 h 336"/>
                <a:gd name="T26" fmla="*/ 222 w 384"/>
                <a:gd name="T27" fmla="*/ 0 h 336"/>
                <a:gd name="T28" fmla="*/ 246 w 384"/>
                <a:gd name="T29" fmla="*/ 0 h 336"/>
                <a:gd name="T30" fmla="*/ 282 w 384"/>
                <a:gd name="T31" fmla="*/ 24 h 336"/>
                <a:gd name="T32" fmla="*/ 300 w 384"/>
                <a:gd name="T33" fmla="*/ 18 h 336"/>
                <a:gd name="T34" fmla="*/ 318 w 384"/>
                <a:gd name="T35" fmla="*/ 30 h 336"/>
                <a:gd name="T36" fmla="*/ 336 w 384"/>
                <a:gd name="T37" fmla="*/ 42 h 336"/>
                <a:gd name="T38" fmla="*/ 366 w 384"/>
                <a:gd name="T39" fmla="*/ 48 h 336"/>
                <a:gd name="T40" fmla="*/ 384 w 384"/>
                <a:gd name="T41" fmla="*/ 54 h 336"/>
                <a:gd name="T42" fmla="*/ 378 w 384"/>
                <a:gd name="T43" fmla="*/ 66 h 336"/>
                <a:gd name="T44" fmla="*/ 384 w 384"/>
                <a:gd name="T45" fmla="*/ 90 h 336"/>
                <a:gd name="T46" fmla="*/ 384 w 384"/>
                <a:gd name="T47" fmla="*/ 102 h 336"/>
                <a:gd name="T48" fmla="*/ 384 w 384"/>
                <a:gd name="T49" fmla="*/ 114 h 336"/>
                <a:gd name="T50" fmla="*/ 384 w 384"/>
                <a:gd name="T51" fmla="*/ 126 h 336"/>
                <a:gd name="T52" fmla="*/ 378 w 384"/>
                <a:gd name="T53" fmla="*/ 144 h 336"/>
                <a:gd name="T54" fmla="*/ 366 w 384"/>
                <a:gd name="T55" fmla="*/ 156 h 336"/>
                <a:gd name="T56" fmla="*/ 366 w 384"/>
                <a:gd name="T57" fmla="*/ 168 h 336"/>
                <a:gd name="T58" fmla="*/ 378 w 384"/>
                <a:gd name="T59" fmla="*/ 180 h 336"/>
                <a:gd name="T60" fmla="*/ 372 w 384"/>
                <a:gd name="T61" fmla="*/ 192 h 336"/>
                <a:gd name="T62" fmla="*/ 378 w 384"/>
                <a:gd name="T63" fmla="*/ 204 h 336"/>
                <a:gd name="T64" fmla="*/ 378 w 384"/>
                <a:gd name="T65" fmla="*/ 204 h 336"/>
                <a:gd name="T66" fmla="*/ 378 w 384"/>
                <a:gd name="T67" fmla="*/ 222 h 336"/>
                <a:gd name="T68" fmla="*/ 378 w 384"/>
                <a:gd name="T69" fmla="*/ 234 h 336"/>
                <a:gd name="T70" fmla="*/ 360 w 384"/>
                <a:gd name="T71" fmla="*/ 246 h 336"/>
                <a:gd name="T72" fmla="*/ 354 w 384"/>
                <a:gd name="T73" fmla="*/ 270 h 336"/>
                <a:gd name="T74" fmla="*/ 354 w 384"/>
                <a:gd name="T75" fmla="*/ 282 h 336"/>
                <a:gd name="T76" fmla="*/ 300 w 384"/>
                <a:gd name="T77" fmla="*/ 336 h 336"/>
                <a:gd name="T78" fmla="*/ 288 w 384"/>
                <a:gd name="T79" fmla="*/ 336 h 336"/>
                <a:gd name="T80" fmla="*/ 264 w 384"/>
                <a:gd name="T81" fmla="*/ 330 h 336"/>
                <a:gd name="T82" fmla="*/ 246 w 384"/>
                <a:gd name="T83" fmla="*/ 330 h 336"/>
                <a:gd name="T84" fmla="*/ 222 w 384"/>
                <a:gd name="T85" fmla="*/ 324 h 336"/>
                <a:gd name="T86" fmla="*/ 198 w 384"/>
                <a:gd name="T87" fmla="*/ 324 h 336"/>
                <a:gd name="T88" fmla="*/ 186 w 384"/>
                <a:gd name="T89" fmla="*/ 312 h 336"/>
                <a:gd name="T90" fmla="*/ 174 w 384"/>
                <a:gd name="T91" fmla="*/ 300 h 336"/>
                <a:gd name="T92" fmla="*/ 150 w 384"/>
                <a:gd name="T93" fmla="*/ 294 h 336"/>
                <a:gd name="T94" fmla="*/ 138 w 384"/>
                <a:gd name="T95" fmla="*/ 294 h 336"/>
                <a:gd name="T96" fmla="*/ 126 w 384"/>
                <a:gd name="T97" fmla="*/ 282 h 336"/>
                <a:gd name="T98" fmla="*/ 120 w 384"/>
                <a:gd name="T99" fmla="*/ 264 h 336"/>
                <a:gd name="T100" fmla="*/ 120 w 384"/>
                <a:gd name="T101" fmla="*/ 240 h 336"/>
                <a:gd name="T102" fmla="*/ 96 w 384"/>
                <a:gd name="T103" fmla="*/ 240 h 336"/>
                <a:gd name="T104" fmla="*/ 96 w 384"/>
                <a:gd name="T105" fmla="*/ 222 h 336"/>
                <a:gd name="T106" fmla="*/ 78 w 384"/>
                <a:gd name="T107" fmla="*/ 216 h 336"/>
                <a:gd name="T108" fmla="*/ 60 w 384"/>
                <a:gd name="T109" fmla="*/ 204 h 336"/>
                <a:gd name="T110" fmla="*/ 42 w 384"/>
                <a:gd name="T111" fmla="*/ 198 h 336"/>
                <a:gd name="T112" fmla="*/ 36 w 384"/>
                <a:gd name="T113" fmla="*/ 174 h 336"/>
                <a:gd name="T114" fmla="*/ 24 w 384"/>
                <a:gd name="T115" fmla="*/ 156 h 336"/>
                <a:gd name="T116" fmla="*/ 12 w 384"/>
                <a:gd name="T117" fmla="*/ 138 h 336"/>
                <a:gd name="T118" fmla="*/ 6 w 384"/>
                <a:gd name="T119" fmla="*/ 120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336"/>
                <a:gd name="T182" fmla="*/ 384 w 384"/>
                <a:gd name="T183" fmla="*/ 336 h 3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46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2901" y="3115"/>
              <a:ext cx="398" cy="383"/>
            </a:xfrm>
            <a:custGeom>
              <a:avLst/>
              <a:gdLst>
                <a:gd name="T0" fmla="*/ 270 w 468"/>
                <a:gd name="T1" fmla="*/ 18 h 450"/>
                <a:gd name="T2" fmla="*/ 282 w 468"/>
                <a:gd name="T3" fmla="*/ 42 h 450"/>
                <a:gd name="T4" fmla="*/ 300 w 468"/>
                <a:gd name="T5" fmla="*/ 60 h 450"/>
                <a:gd name="T6" fmla="*/ 306 w 468"/>
                <a:gd name="T7" fmla="*/ 90 h 450"/>
                <a:gd name="T8" fmla="*/ 330 w 468"/>
                <a:gd name="T9" fmla="*/ 102 h 450"/>
                <a:gd name="T10" fmla="*/ 354 w 468"/>
                <a:gd name="T11" fmla="*/ 108 h 450"/>
                <a:gd name="T12" fmla="*/ 366 w 468"/>
                <a:gd name="T13" fmla="*/ 132 h 450"/>
                <a:gd name="T14" fmla="*/ 384 w 468"/>
                <a:gd name="T15" fmla="*/ 132 h 450"/>
                <a:gd name="T16" fmla="*/ 384 w 468"/>
                <a:gd name="T17" fmla="*/ 162 h 450"/>
                <a:gd name="T18" fmla="*/ 396 w 468"/>
                <a:gd name="T19" fmla="*/ 180 h 450"/>
                <a:gd name="T20" fmla="*/ 414 w 468"/>
                <a:gd name="T21" fmla="*/ 192 h 450"/>
                <a:gd name="T22" fmla="*/ 438 w 468"/>
                <a:gd name="T23" fmla="*/ 192 h 450"/>
                <a:gd name="T24" fmla="*/ 450 w 468"/>
                <a:gd name="T25" fmla="*/ 210 h 450"/>
                <a:gd name="T26" fmla="*/ 462 w 468"/>
                <a:gd name="T27" fmla="*/ 216 h 450"/>
                <a:gd name="T28" fmla="*/ 444 w 468"/>
                <a:gd name="T29" fmla="*/ 228 h 450"/>
                <a:gd name="T30" fmla="*/ 426 w 468"/>
                <a:gd name="T31" fmla="*/ 234 h 450"/>
                <a:gd name="T32" fmla="*/ 408 w 468"/>
                <a:gd name="T33" fmla="*/ 240 h 450"/>
                <a:gd name="T34" fmla="*/ 396 w 468"/>
                <a:gd name="T35" fmla="*/ 264 h 450"/>
                <a:gd name="T36" fmla="*/ 378 w 468"/>
                <a:gd name="T37" fmla="*/ 270 h 450"/>
                <a:gd name="T38" fmla="*/ 366 w 468"/>
                <a:gd name="T39" fmla="*/ 276 h 450"/>
                <a:gd name="T40" fmla="*/ 366 w 468"/>
                <a:gd name="T41" fmla="*/ 282 h 450"/>
                <a:gd name="T42" fmla="*/ 348 w 468"/>
                <a:gd name="T43" fmla="*/ 294 h 450"/>
                <a:gd name="T44" fmla="*/ 342 w 468"/>
                <a:gd name="T45" fmla="*/ 306 h 450"/>
                <a:gd name="T46" fmla="*/ 330 w 468"/>
                <a:gd name="T47" fmla="*/ 324 h 450"/>
                <a:gd name="T48" fmla="*/ 324 w 468"/>
                <a:gd name="T49" fmla="*/ 336 h 450"/>
                <a:gd name="T50" fmla="*/ 294 w 468"/>
                <a:gd name="T51" fmla="*/ 342 h 450"/>
                <a:gd name="T52" fmla="*/ 282 w 468"/>
                <a:gd name="T53" fmla="*/ 378 h 450"/>
                <a:gd name="T54" fmla="*/ 264 w 468"/>
                <a:gd name="T55" fmla="*/ 396 h 450"/>
                <a:gd name="T56" fmla="*/ 234 w 468"/>
                <a:gd name="T57" fmla="*/ 396 h 450"/>
                <a:gd name="T58" fmla="*/ 216 w 468"/>
                <a:gd name="T59" fmla="*/ 396 h 450"/>
                <a:gd name="T60" fmla="*/ 192 w 468"/>
                <a:gd name="T61" fmla="*/ 384 h 450"/>
                <a:gd name="T62" fmla="*/ 168 w 468"/>
                <a:gd name="T63" fmla="*/ 372 h 450"/>
                <a:gd name="T64" fmla="*/ 150 w 468"/>
                <a:gd name="T65" fmla="*/ 372 h 450"/>
                <a:gd name="T66" fmla="*/ 138 w 468"/>
                <a:gd name="T67" fmla="*/ 390 h 450"/>
                <a:gd name="T68" fmla="*/ 132 w 468"/>
                <a:gd name="T69" fmla="*/ 408 h 450"/>
                <a:gd name="T70" fmla="*/ 114 w 468"/>
                <a:gd name="T71" fmla="*/ 426 h 450"/>
                <a:gd name="T72" fmla="*/ 96 w 468"/>
                <a:gd name="T73" fmla="*/ 438 h 450"/>
                <a:gd name="T74" fmla="*/ 78 w 468"/>
                <a:gd name="T75" fmla="*/ 450 h 450"/>
                <a:gd name="T76" fmla="*/ 48 w 468"/>
                <a:gd name="T77" fmla="*/ 450 h 450"/>
                <a:gd name="T78" fmla="*/ 30 w 468"/>
                <a:gd name="T79" fmla="*/ 438 h 450"/>
                <a:gd name="T80" fmla="*/ 42 w 468"/>
                <a:gd name="T81" fmla="*/ 420 h 450"/>
                <a:gd name="T82" fmla="*/ 36 w 468"/>
                <a:gd name="T83" fmla="*/ 396 h 450"/>
                <a:gd name="T84" fmla="*/ 30 w 468"/>
                <a:gd name="T85" fmla="*/ 378 h 450"/>
                <a:gd name="T86" fmla="*/ 24 w 468"/>
                <a:gd name="T87" fmla="*/ 366 h 450"/>
                <a:gd name="T88" fmla="*/ 6 w 468"/>
                <a:gd name="T89" fmla="*/ 354 h 450"/>
                <a:gd name="T90" fmla="*/ 48 w 468"/>
                <a:gd name="T91" fmla="*/ 156 h 450"/>
                <a:gd name="T92" fmla="*/ 168 w 468"/>
                <a:gd name="T93" fmla="*/ 12 h 450"/>
                <a:gd name="T94" fmla="*/ 180 w 468"/>
                <a:gd name="T95" fmla="*/ 30 h 450"/>
                <a:gd name="T96" fmla="*/ 198 w 468"/>
                <a:gd name="T97" fmla="*/ 24 h 450"/>
                <a:gd name="T98" fmla="*/ 216 w 468"/>
                <a:gd name="T99" fmla="*/ 12 h 450"/>
                <a:gd name="T100" fmla="*/ 234 w 468"/>
                <a:gd name="T101" fmla="*/ 6 h 450"/>
                <a:gd name="T102" fmla="*/ 258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68"/>
                <a:gd name="T157" fmla="*/ 0 h 450"/>
                <a:gd name="T158" fmla="*/ 468 w 468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47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2753" y="3299"/>
              <a:ext cx="694" cy="535"/>
            </a:xfrm>
            <a:custGeom>
              <a:avLst/>
              <a:gdLst>
                <a:gd name="T0" fmla="*/ 18 w 816"/>
                <a:gd name="T1" fmla="*/ 300 h 630"/>
                <a:gd name="T2" fmla="*/ 42 w 816"/>
                <a:gd name="T3" fmla="*/ 312 h 630"/>
                <a:gd name="T4" fmla="*/ 78 w 816"/>
                <a:gd name="T5" fmla="*/ 336 h 630"/>
                <a:gd name="T6" fmla="*/ 132 w 816"/>
                <a:gd name="T7" fmla="*/ 336 h 630"/>
                <a:gd name="T8" fmla="*/ 162 w 816"/>
                <a:gd name="T9" fmla="*/ 318 h 630"/>
                <a:gd name="T10" fmla="*/ 198 w 816"/>
                <a:gd name="T11" fmla="*/ 144 h 630"/>
                <a:gd name="T12" fmla="*/ 210 w 816"/>
                <a:gd name="T13" fmla="*/ 174 h 630"/>
                <a:gd name="T14" fmla="*/ 204 w 816"/>
                <a:gd name="T15" fmla="*/ 216 h 630"/>
                <a:gd name="T16" fmla="*/ 246 w 816"/>
                <a:gd name="T17" fmla="*/ 234 h 630"/>
                <a:gd name="T18" fmla="*/ 282 w 816"/>
                <a:gd name="T19" fmla="*/ 210 h 630"/>
                <a:gd name="T20" fmla="*/ 318 w 816"/>
                <a:gd name="T21" fmla="*/ 174 h 630"/>
                <a:gd name="T22" fmla="*/ 336 w 816"/>
                <a:gd name="T23" fmla="*/ 156 h 630"/>
                <a:gd name="T24" fmla="*/ 390 w 816"/>
                <a:gd name="T25" fmla="*/ 174 h 630"/>
                <a:gd name="T26" fmla="*/ 432 w 816"/>
                <a:gd name="T27" fmla="*/ 180 h 630"/>
                <a:gd name="T28" fmla="*/ 468 w 816"/>
                <a:gd name="T29" fmla="*/ 132 h 630"/>
                <a:gd name="T30" fmla="*/ 504 w 816"/>
                <a:gd name="T31" fmla="*/ 114 h 630"/>
                <a:gd name="T32" fmla="*/ 522 w 816"/>
                <a:gd name="T33" fmla="*/ 72 h 630"/>
                <a:gd name="T34" fmla="*/ 546 w 816"/>
                <a:gd name="T35" fmla="*/ 60 h 630"/>
                <a:gd name="T36" fmla="*/ 564 w 816"/>
                <a:gd name="T37" fmla="*/ 48 h 630"/>
                <a:gd name="T38" fmla="*/ 600 w 816"/>
                <a:gd name="T39" fmla="*/ 24 h 630"/>
                <a:gd name="T40" fmla="*/ 630 w 816"/>
                <a:gd name="T41" fmla="*/ 0 h 630"/>
                <a:gd name="T42" fmla="*/ 684 w 816"/>
                <a:gd name="T43" fmla="*/ 12 h 630"/>
                <a:gd name="T44" fmla="*/ 732 w 816"/>
                <a:gd name="T45" fmla="*/ 12 h 630"/>
                <a:gd name="T46" fmla="*/ 768 w 816"/>
                <a:gd name="T47" fmla="*/ 102 h 630"/>
                <a:gd name="T48" fmla="*/ 768 w 816"/>
                <a:gd name="T49" fmla="*/ 168 h 630"/>
                <a:gd name="T50" fmla="*/ 744 w 816"/>
                <a:gd name="T51" fmla="*/ 180 h 630"/>
                <a:gd name="T52" fmla="*/ 714 w 816"/>
                <a:gd name="T53" fmla="*/ 228 h 630"/>
                <a:gd name="T54" fmla="*/ 750 w 816"/>
                <a:gd name="T55" fmla="*/ 258 h 630"/>
                <a:gd name="T56" fmla="*/ 816 w 816"/>
                <a:gd name="T57" fmla="*/ 240 h 630"/>
                <a:gd name="T58" fmla="*/ 798 w 816"/>
                <a:gd name="T59" fmla="*/ 300 h 630"/>
                <a:gd name="T60" fmla="*/ 762 w 816"/>
                <a:gd name="T61" fmla="*/ 336 h 630"/>
                <a:gd name="T62" fmla="*/ 720 w 816"/>
                <a:gd name="T63" fmla="*/ 378 h 630"/>
                <a:gd name="T64" fmla="*/ 702 w 816"/>
                <a:gd name="T65" fmla="*/ 414 h 630"/>
                <a:gd name="T66" fmla="*/ 672 w 816"/>
                <a:gd name="T67" fmla="*/ 456 h 630"/>
                <a:gd name="T68" fmla="*/ 636 w 816"/>
                <a:gd name="T69" fmla="*/ 486 h 630"/>
                <a:gd name="T70" fmla="*/ 612 w 816"/>
                <a:gd name="T71" fmla="*/ 510 h 630"/>
                <a:gd name="T72" fmla="*/ 582 w 816"/>
                <a:gd name="T73" fmla="*/ 528 h 630"/>
                <a:gd name="T74" fmla="*/ 540 w 816"/>
                <a:gd name="T75" fmla="*/ 558 h 630"/>
                <a:gd name="T76" fmla="*/ 504 w 816"/>
                <a:gd name="T77" fmla="*/ 570 h 630"/>
                <a:gd name="T78" fmla="*/ 456 w 816"/>
                <a:gd name="T79" fmla="*/ 582 h 630"/>
                <a:gd name="T80" fmla="*/ 420 w 816"/>
                <a:gd name="T81" fmla="*/ 594 h 630"/>
                <a:gd name="T82" fmla="*/ 378 w 816"/>
                <a:gd name="T83" fmla="*/ 588 h 630"/>
                <a:gd name="T84" fmla="*/ 324 w 816"/>
                <a:gd name="T85" fmla="*/ 594 h 630"/>
                <a:gd name="T86" fmla="*/ 312 w 816"/>
                <a:gd name="T87" fmla="*/ 588 h 630"/>
                <a:gd name="T88" fmla="*/ 264 w 816"/>
                <a:gd name="T89" fmla="*/ 606 h 630"/>
                <a:gd name="T90" fmla="*/ 234 w 816"/>
                <a:gd name="T91" fmla="*/ 606 h 630"/>
                <a:gd name="T92" fmla="*/ 198 w 816"/>
                <a:gd name="T93" fmla="*/ 618 h 630"/>
                <a:gd name="T94" fmla="*/ 156 w 816"/>
                <a:gd name="T95" fmla="*/ 630 h 630"/>
                <a:gd name="T96" fmla="*/ 126 w 816"/>
                <a:gd name="T97" fmla="*/ 606 h 630"/>
                <a:gd name="T98" fmla="*/ 108 w 816"/>
                <a:gd name="T99" fmla="*/ 594 h 630"/>
                <a:gd name="T100" fmla="*/ 96 w 816"/>
                <a:gd name="T101" fmla="*/ 600 h 630"/>
                <a:gd name="T102" fmla="*/ 96 w 816"/>
                <a:gd name="T103" fmla="*/ 582 h 630"/>
                <a:gd name="T104" fmla="*/ 78 w 816"/>
                <a:gd name="T105" fmla="*/ 546 h 630"/>
                <a:gd name="T106" fmla="*/ 66 w 816"/>
                <a:gd name="T107" fmla="*/ 534 h 630"/>
                <a:gd name="T108" fmla="*/ 78 w 816"/>
                <a:gd name="T109" fmla="*/ 528 h 630"/>
                <a:gd name="T110" fmla="*/ 90 w 816"/>
                <a:gd name="T111" fmla="*/ 480 h 630"/>
                <a:gd name="T112" fmla="*/ 60 w 816"/>
                <a:gd name="T113" fmla="*/ 438 h 630"/>
                <a:gd name="T114" fmla="*/ 36 w 816"/>
                <a:gd name="T115" fmla="*/ 396 h 630"/>
                <a:gd name="T116" fmla="*/ 18 w 816"/>
                <a:gd name="T117" fmla="*/ 342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16"/>
                <a:gd name="T178" fmla="*/ 0 h 630"/>
                <a:gd name="T179" fmla="*/ 816 w 816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48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3197" y="3569"/>
              <a:ext cx="107" cy="87"/>
            </a:xfrm>
            <a:custGeom>
              <a:avLst/>
              <a:gdLst>
                <a:gd name="T0" fmla="*/ 108 w 126"/>
                <a:gd name="T1" fmla="*/ 72 h 102"/>
                <a:gd name="T2" fmla="*/ 108 w 126"/>
                <a:gd name="T3" fmla="*/ 60 h 102"/>
                <a:gd name="T4" fmla="*/ 114 w 126"/>
                <a:gd name="T5" fmla="*/ 54 h 102"/>
                <a:gd name="T6" fmla="*/ 120 w 126"/>
                <a:gd name="T7" fmla="*/ 42 h 102"/>
                <a:gd name="T8" fmla="*/ 126 w 126"/>
                <a:gd name="T9" fmla="*/ 36 h 102"/>
                <a:gd name="T10" fmla="*/ 120 w 126"/>
                <a:gd name="T11" fmla="*/ 30 h 102"/>
                <a:gd name="T12" fmla="*/ 108 w 126"/>
                <a:gd name="T13" fmla="*/ 24 h 102"/>
                <a:gd name="T14" fmla="*/ 96 w 126"/>
                <a:gd name="T15" fmla="*/ 18 h 102"/>
                <a:gd name="T16" fmla="*/ 90 w 126"/>
                <a:gd name="T17" fmla="*/ 12 h 102"/>
                <a:gd name="T18" fmla="*/ 84 w 126"/>
                <a:gd name="T19" fmla="*/ 6 h 102"/>
                <a:gd name="T20" fmla="*/ 78 w 126"/>
                <a:gd name="T21" fmla="*/ 0 h 102"/>
                <a:gd name="T22" fmla="*/ 72 w 126"/>
                <a:gd name="T23" fmla="*/ 6 h 102"/>
                <a:gd name="T24" fmla="*/ 72 w 126"/>
                <a:gd name="T25" fmla="*/ 6 h 102"/>
                <a:gd name="T26" fmla="*/ 60 w 126"/>
                <a:gd name="T27" fmla="*/ 6 h 102"/>
                <a:gd name="T28" fmla="*/ 54 w 126"/>
                <a:gd name="T29" fmla="*/ 12 h 102"/>
                <a:gd name="T30" fmla="*/ 48 w 126"/>
                <a:gd name="T31" fmla="*/ 18 h 102"/>
                <a:gd name="T32" fmla="*/ 48 w 126"/>
                <a:gd name="T33" fmla="*/ 18 h 102"/>
                <a:gd name="T34" fmla="*/ 36 w 126"/>
                <a:gd name="T35" fmla="*/ 18 h 102"/>
                <a:gd name="T36" fmla="*/ 36 w 126"/>
                <a:gd name="T37" fmla="*/ 18 h 102"/>
                <a:gd name="T38" fmla="*/ 36 w 126"/>
                <a:gd name="T39" fmla="*/ 30 h 102"/>
                <a:gd name="T40" fmla="*/ 30 w 126"/>
                <a:gd name="T41" fmla="*/ 36 h 102"/>
                <a:gd name="T42" fmla="*/ 24 w 126"/>
                <a:gd name="T43" fmla="*/ 42 h 102"/>
                <a:gd name="T44" fmla="*/ 18 w 126"/>
                <a:gd name="T45" fmla="*/ 48 h 102"/>
                <a:gd name="T46" fmla="*/ 6 w 126"/>
                <a:gd name="T47" fmla="*/ 48 h 102"/>
                <a:gd name="T48" fmla="*/ 0 w 126"/>
                <a:gd name="T49" fmla="*/ 54 h 102"/>
                <a:gd name="T50" fmla="*/ 6 w 126"/>
                <a:gd name="T51" fmla="*/ 60 h 102"/>
                <a:gd name="T52" fmla="*/ 18 w 126"/>
                <a:gd name="T53" fmla="*/ 78 h 102"/>
                <a:gd name="T54" fmla="*/ 18 w 126"/>
                <a:gd name="T55" fmla="*/ 78 h 102"/>
                <a:gd name="T56" fmla="*/ 24 w 126"/>
                <a:gd name="T57" fmla="*/ 84 h 102"/>
                <a:gd name="T58" fmla="*/ 18 w 126"/>
                <a:gd name="T59" fmla="*/ 90 h 102"/>
                <a:gd name="T60" fmla="*/ 30 w 126"/>
                <a:gd name="T61" fmla="*/ 90 h 102"/>
                <a:gd name="T62" fmla="*/ 36 w 126"/>
                <a:gd name="T63" fmla="*/ 96 h 102"/>
                <a:gd name="T64" fmla="*/ 42 w 126"/>
                <a:gd name="T65" fmla="*/ 102 h 102"/>
                <a:gd name="T66" fmla="*/ 54 w 126"/>
                <a:gd name="T67" fmla="*/ 102 h 102"/>
                <a:gd name="T68" fmla="*/ 60 w 126"/>
                <a:gd name="T69" fmla="*/ 96 h 102"/>
                <a:gd name="T70" fmla="*/ 66 w 126"/>
                <a:gd name="T71" fmla="*/ 90 h 102"/>
                <a:gd name="T72" fmla="*/ 66 w 126"/>
                <a:gd name="T73" fmla="*/ 84 h 102"/>
                <a:gd name="T74" fmla="*/ 78 w 126"/>
                <a:gd name="T75" fmla="*/ 78 h 102"/>
                <a:gd name="T76" fmla="*/ 90 w 126"/>
                <a:gd name="T77" fmla="*/ 78 h 102"/>
                <a:gd name="T78" fmla="*/ 96 w 126"/>
                <a:gd name="T79" fmla="*/ 72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6"/>
                <a:gd name="T121" fmla="*/ 0 h 102"/>
                <a:gd name="T122" fmla="*/ 126 w 126"/>
                <a:gd name="T123" fmla="*/ 102 h 10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49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2555" y="3080"/>
              <a:ext cx="571" cy="505"/>
            </a:xfrm>
            <a:custGeom>
              <a:avLst/>
              <a:gdLst>
                <a:gd name="T0" fmla="*/ 12 w 672"/>
                <a:gd name="T1" fmla="*/ 12 h 594"/>
                <a:gd name="T2" fmla="*/ 36 w 672"/>
                <a:gd name="T3" fmla="*/ 18 h 594"/>
                <a:gd name="T4" fmla="*/ 54 w 672"/>
                <a:gd name="T5" fmla="*/ 6 h 594"/>
                <a:gd name="T6" fmla="*/ 84 w 672"/>
                <a:gd name="T7" fmla="*/ 0 h 594"/>
                <a:gd name="T8" fmla="*/ 90 w 672"/>
                <a:gd name="T9" fmla="*/ 12 h 594"/>
                <a:gd name="T10" fmla="*/ 108 w 672"/>
                <a:gd name="T11" fmla="*/ 24 h 594"/>
                <a:gd name="T12" fmla="*/ 258 w 672"/>
                <a:gd name="T13" fmla="*/ 24 h 594"/>
                <a:gd name="T14" fmla="*/ 342 w 672"/>
                <a:gd name="T15" fmla="*/ 30 h 594"/>
                <a:gd name="T16" fmla="*/ 360 w 672"/>
                <a:gd name="T17" fmla="*/ 42 h 594"/>
                <a:gd name="T18" fmla="*/ 384 w 672"/>
                <a:gd name="T19" fmla="*/ 48 h 594"/>
                <a:gd name="T20" fmla="*/ 384 w 672"/>
                <a:gd name="T21" fmla="*/ 42 h 594"/>
                <a:gd name="T22" fmla="*/ 396 w 672"/>
                <a:gd name="T23" fmla="*/ 48 h 594"/>
                <a:gd name="T24" fmla="*/ 420 w 672"/>
                <a:gd name="T25" fmla="*/ 48 h 594"/>
                <a:gd name="T26" fmla="*/ 438 w 672"/>
                <a:gd name="T27" fmla="*/ 48 h 594"/>
                <a:gd name="T28" fmla="*/ 456 w 672"/>
                <a:gd name="T29" fmla="*/ 48 h 594"/>
                <a:gd name="T30" fmla="*/ 552 w 672"/>
                <a:gd name="T31" fmla="*/ 36 h 594"/>
                <a:gd name="T32" fmla="*/ 630 w 672"/>
                <a:gd name="T33" fmla="*/ 30 h 594"/>
                <a:gd name="T34" fmla="*/ 648 w 672"/>
                <a:gd name="T35" fmla="*/ 30 h 594"/>
                <a:gd name="T36" fmla="*/ 666 w 672"/>
                <a:gd name="T37" fmla="*/ 42 h 594"/>
                <a:gd name="T38" fmla="*/ 648 w 672"/>
                <a:gd name="T39" fmla="*/ 42 h 594"/>
                <a:gd name="T40" fmla="*/ 630 w 672"/>
                <a:gd name="T41" fmla="*/ 48 h 594"/>
                <a:gd name="T42" fmla="*/ 612 w 672"/>
                <a:gd name="T43" fmla="*/ 60 h 594"/>
                <a:gd name="T44" fmla="*/ 594 w 672"/>
                <a:gd name="T45" fmla="*/ 72 h 594"/>
                <a:gd name="T46" fmla="*/ 582 w 672"/>
                <a:gd name="T47" fmla="*/ 60 h 594"/>
                <a:gd name="T48" fmla="*/ 480 w 672"/>
                <a:gd name="T49" fmla="*/ 66 h 594"/>
                <a:gd name="T50" fmla="*/ 408 w 672"/>
                <a:gd name="T51" fmla="*/ 390 h 594"/>
                <a:gd name="T52" fmla="*/ 396 w 672"/>
                <a:gd name="T53" fmla="*/ 570 h 594"/>
                <a:gd name="T54" fmla="*/ 378 w 672"/>
                <a:gd name="T55" fmla="*/ 588 h 594"/>
                <a:gd name="T56" fmla="*/ 360 w 672"/>
                <a:gd name="T57" fmla="*/ 594 h 594"/>
                <a:gd name="T58" fmla="*/ 336 w 672"/>
                <a:gd name="T59" fmla="*/ 594 h 594"/>
                <a:gd name="T60" fmla="*/ 312 w 672"/>
                <a:gd name="T61" fmla="*/ 588 h 594"/>
                <a:gd name="T62" fmla="*/ 288 w 672"/>
                <a:gd name="T63" fmla="*/ 582 h 594"/>
                <a:gd name="T64" fmla="*/ 282 w 672"/>
                <a:gd name="T65" fmla="*/ 570 h 594"/>
                <a:gd name="T66" fmla="*/ 270 w 672"/>
                <a:gd name="T67" fmla="*/ 552 h 594"/>
                <a:gd name="T68" fmla="*/ 252 w 672"/>
                <a:gd name="T69" fmla="*/ 564 h 594"/>
                <a:gd name="T70" fmla="*/ 246 w 672"/>
                <a:gd name="T71" fmla="*/ 570 h 594"/>
                <a:gd name="T72" fmla="*/ 228 w 672"/>
                <a:gd name="T73" fmla="*/ 576 h 594"/>
                <a:gd name="T74" fmla="*/ 210 w 672"/>
                <a:gd name="T75" fmla="*/ 558 h 594"/>
                <a:gd name="T76" fmla="*/ 192 w 672"/>
                <a:gd name="T77" fmla="*/ 540 h 594"/>
                <a:gd name="T78" fmla="*/ 174 w 672"/>
                <a:gd name="T79" fmla="*/ 516 h 594"/>
                <a:gd name="T80" fmla="*/ 168 w 672"/>
                <a:gd name="T81" fmla="*/ 492 h 594"/>
                <a:gd name="T82" fmla="*/ 162 w 672"/>
                <a:gd name="T83" fmla="*/ 480 h 594"/>
                <a:gd name="T84" fmla="*/ 168 w 672"/>
                <a:gd name="T85" fmla="*/ 468 h 594"/>
                <a:gd name="T86" fmla="*/ 162 w 672"/>
                <a:gd name="T87" fmla="*/ 456 h 594"/>
                <a:gd name="T88" fmla="*/ 150 w 672"/>
                <a:gd name="T89" fmla="*/ 438 h 594"/>
                <a:gd name="T90" fmla="*/ 150 w 672"/>
                <a:gd name="T91" fmla="*/ 420 h 594"/>
                <a:gd name="T92" fmla="*/ 150 w 672"/>
                <a:gd name="T93" fmla="*/ 402 h 594"/>
                <a:gd name="T94" fmla="*/ 144 w 672"/>
                <a:gd name="T95" fmla="*/ 378 h 594"/>
                <a:gd name="T96" fmla="*/ 132 w 672"/>
                <a:gd name="T97" fmla="*/ 354 h 594"/>
                <a:gd name="T98" fmla="*/ 138 w 672"/>
                <a:gd name="T99" fmla="*/ 330 h 594"/>
                <a:gd name="T100" fmla="*/ 138 w 672"/>
                <a:gd name="T101" fmla="*/ 312 h 594"/>
                <a:gd name="T102" fmla="*/ 138 w 672"/>
                <a:gd name="T103" fmla="*/ 300 h 594"/>
                <a:gd name="T104" fmla="*/ 132 w 672"/>
                <a:gd name="T105" fmla="*/ 270 h 594"/>
                <a:gd name="T106" fmla="*/ 114 w 672"/>
                <a:gd name="T107" fmla="*/ 246 h 594"/>
                <a:gd name="T108" fmla="*/ 102 w 672"/>
                <a:gd name="T109" fmla="*/ 228 h 594"/>
                <a:gd name="T110" fmla="*/ 90 w 672"/>
                <a:gd name="T111" fmla="*/ 204 h 594"/>
                <a:gd name="T112" fmla="*/ 78 w 672"/>
                <a:gd name="T113" fmla="*/ 186 h 594"/>
                <a:gd name="T114" fmla="*/ 66 w 672"/>
                <a:gd name="T115" fmla="*/ 156 h 594"/>
                <a:gd name="T116" fmla="*/ 54 w 672"/>
                <a:gd name="T117" fmla="*/ 132 h 594"/>
                <a:gd name="T118" fmla="*/ 36 w 672"/>
                <a:gd name="T119" fmla="*/ 96 h 594"/>
                <a:gd name="T120" fmla="*/ 12 w 672"/>
                <a:gd name="T121" fmla="*/ 78 h 594"/>
                <a:gd name="T122" fmla="*/ 0 w 672"/>
                <a:gd name="T123" fmla="*/ 48 h 594"/>
                <a:gd name="T124" fmla="*/ 0 w 672"/>
                <a:gd name="T125" fmla="*/ 18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2"/>
                <a:gd name="T190" fmla="*/ 0 h 594"/>
                <a:gd name="T191" fmla="*/ 672 w 672"/>
                <a:gd name="T192" fmla="*/ 594 h 59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50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3360" y="3452"/>
              <a:ext cx="56" cy="66"/>
            </a:xfrm>
            <a:custGeom>
              <a:avLst/>
              <a:gdLst>
                <a:gd name="T0" fmla="*/ 54 w 66"/>
                <a:gd name="T1" fmla="*/ 6 h 78"/>
                <a:gd name="T2" fmla="*/ 60 w 66"/>
                <a:gd name="T3" fmla="*/ 12 h 78"/>
                <a:gd name="T4" fmla="*/ 60 w 66"/>
                <a:gd name="T5" fmla="*/ 18 h 78"/>
                <a:gd name="T6" fmla="*/ 60 w 66"/>
                <a:gd name="T7" fmla="*/ 24 h 78"/>
                <a:gd name="T8" fmla="*/ 60 w 66"/>
                <a:gd name="T9" fmla="*/ 30 h 78"/>
                <a:gd name="T10" fmla="*/ 66 w 66"/>
                <a:gd name="T11" fmla="*/ 36 h 78"/>
                <a:gd name="T12" fmla="*/ 66 w 66"/>
                <a:gd name="T13" fmla="*/ 54 h 78"/>
                <a:gd name="T14" fmla="*/ 60 w 66"/>
                <a:gd name="T15" fmla="*/ 54 h 78"/>
                <a:gd name="T16" fmla="*/ 54 w 66"/>
                <a:gd name="T17" fmla="*/ 60 h 78"/>
                <a:gd name="T18" fmla="*/ 54 w 66"/>
                <a:gd name="T19" fmla="*/ 66 h 78"/>
                <a:gd name="T20" fmla="*/ 54 w 66"/>
                <a:gd name="T21" fmla="*/ 78 h 78"/>
                <a:gd name="T22" fmla="*/ 36 w 66"/>
                <a:gd name="T23" fmla="*/ 78 h 78"/>
                <a:gd name="T24" fmla="*/ 30 w 66"/>
                <a:gd name="T25" fmla="*/ 78 h 78"/>
                <a:gd name="T26" fmla="*/ 24 w 66"/>
                <a:gd name="T27" fmla="*/ 72 h 78"/>
                <a:gd name="T28" fmla="*/ 18 w 66"/>
                <a:gd name="T29" fmla="*/ 72 h 78"/>
                <a:gd name="T30" fmla="*/ 12 w 66"/>
                <a:gd name="T31" fmla="*/ 66 h 78"/>
                <a:gd name="T32" fmla="*/ 6 w 66"/>
                <a:gd name="T33" fmla="*/ 60 h 78"/>
                <a:gd name="T34" fmla="*/ 6 w 66"/>
                <a:gd name="T35" fmla="*/ 54 h 78"/>
                <a:gd name="T36" fmla="*/ 0 w 66"/>
                <a:gd name="T37" fmla="*/ 54 h 78"/>
                <a:gd name="T38" fmla="*/ 0 w 66"/>
                <a:gd name="T39" fmla="*/ 48 h 78"/>
                <a:gd name="T40" fmla="*/ 0 w 66"/>
                <a:gd name="T41" fmla="*/ 54 h 78"/>
                <a:gd name="T42" fmla="*/ 0 w 66"/>
                <a:gd name="T43" fmla="*/ 48 h 78"/>
                <a:gd name="T44" fmla="*/ 0 w 66"/>
                <a:gd name="T45" fmla="*/ 42 h 78"/>
                <a:gd name="T46" fmla="*/ 0 w 66"/>
                <a:gd name="T47" fmla="*/ 36 h 78"/>
                <a:gd name="T48" fmla="*/ 0 w 66"/>
                <a:gd name="T49" fmla="*/ 30 h 78"/>
                <a:gd name="T50" fmla="*/ 0 w 66"/>
                <a:gd name="T51" fmla="*/ 24 h 78"/>
                <a:gd name="T52" fmla="*/ 6 w 66"/>
                <a:gd name="T53" fmla="*/ 24 h 78"/>
                <a:gd name="T54" fmla="*/ 12 w 66"/>
                <a:gd name="T55" fmla="*/ 12 h 78"/>
                <a:gd name="T56" fmla="*/ 12 w 66"/>
                <a:gd name="T57" fmla="*/ 6 h 78"/>
                <a:gd name="T58" fmla="*/ 18 w 66"/>
                <a:gd name="T59" fmla="*/ 0 h 78"/>
                <a:gd name="T60" fmla="*/ 24 w 66"/>
                <a:gd name="T61" fmla="*/ 0 h 78"/>
                <a:gd name="T62" fmla="*/ 30 w 66"/>
                <a:gd name="T63" fmla="*/ 0 h 78"/>
                <a:gd name="T64" fmla="*/ 36 w 66"/>
                <a:gd name="T65" fmla="*/ 0 h 78"/>
                <a:gd name="T66" fmla="*/ 36 w 66"/>
                <a:gd name="T67" fmla="*/ 6 h 78"/>
                <a:gd name="T68" fmla="*/ 48 w 66"/>
                <a:gd name="T69" fmla="*/ 12 h 78"/>
                <a:gd name="T70" fmla="*/ 54 w 66"/>
                <a:gd name="T71" fmla="*/ 12 h 78"/>
                <a:gd name="T72" fmla="*/ 54 w 66"/>
                <a:gd name="T73" fmla="*/ 6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78"/>
                <a:gd name="T113" fmla="*/ 66 w 66"/>
                <a:gd name="T114" fmla="*/ 78 h 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51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3462" y="2845"/>
              <a:ext cx="133" cy="240"/>
            </a:xfrm>
            <a:custGeom>
              <a:avLst/>
              <a:gdLst>
                <a:gd name="T0" fmla="*/ 0 w 156"/>
                <a:gd name="T1" fmla="*/ 132 h 282"/>
                <a:gd name="T2" fmla="*/ 6 w 156"/>
                <a:gd name="T3" fmla="*/ 144 h 282"/>
                <a:gd name="T4" fmla="*/ 18 w 156"/>
                <a:gd name="T5" fmla="*/ 150 h 282"/>
                <a:gd name="T6" fmla="*/ 30 w 156"/>
                <a:gd name="T7" fmla="*/ 156 h 282"/>
                <a:gd name="T8" fmla="*/ 42 w 156"/>
                <a:gd name="T9" fmla="*/ 150 h 282"/>
                <a:gd name="T10" fmla="*/ 60 w 156"/>
                <a:gd name="T11" fmla="*/ 150 h 282"/>
                <a:gd name="T12" fmla="*/ 66 w 156"/>
                <a:gd name="T13" fmla="*/ 162 h 282"/>
                <a:gd name="T14" fmla="*/ 66 w 156"/>
                <a:gd name="T15" fmla="*/ 174 h 282"/>
                <a:gd name="T16" fmla="*/ 66 w 156"/>
                <a:gd name="T17" fmla="*/ 192 h 282"/>
                <a:gd name="T18" fmla="*/ 66 w 156"/>
                <a:gd name="T19" fmla="*/ 198 h 282"/>
                <a:gd name="T20" fmla="*/ 60 w 156"/>
                <a:gd name="T21" fmla="*/ 210 h 282"/>
                <a:gd name="T22" fmla="*/ 48 w 156"/>
                <a:gd name="T23" fmla="*/ 216 h 282"/>
                <a:gd name="T24" fmla="*/ 54 w 156"/>
                <a:gd name="T25" fmla="*/ 228 h 282"/>
                <a:gd name="T26" fmla="*/ 54 w 156"/>
                <a:gd name="T27" fmla="*/ 234 h 282"/>
                <a:gd name="T28" fmla="*/ 60 w 156"/>
                <a:gd name="T29" fmla="*/ 246 h 282"/>
                <a:gd name="T30" fmla="*/ 66 w 156"/>
                <a:gd name="T31" fmla="*/ 252 h 282"/>
                <a:gd name="T32" fmla="*/ 78 w 156"/>
                <a:gd name="T33" fmla="*/ 258 h 282"/>
                <a:gd name="T34" fmla="*/ 84 w 156"/>
                <a:gd name="T35" fmla="*/ 270 h 282"/>
                <a:gd name="T36" fmla="*/ 96 w 156"/>
                <a:gd name="T37" fmla="*/ 276 h 282"/>
                <a:gd name="T38" fmla="*/ 102 w 156"/>
                <a:gd name="T39" fmla="*/ 282 h 282"/>
                <a:gd name="T40" fmla="*/ 102 w 156"/>
                <a:gd name="T41" fmla="*/ 264 h 282"/>
                <a:gd name="T42" fmla="*/ 96 w 156"/>
                <a:gd name="T43" fmla="*/ 252 h 282"/>
                <a:gd name="T44" fmla="*/ 102 w 156"/>
                <a:gd name="T45" fmla="*/ 240 h 282"/>
                <a:gd name="T46" fmla="*/ 114 w 156"/>
                <a:gd name="T47" fmla="*/ 234 h 282"/>
                <a:gd name="T48" fmla="*/ 126 w 156"/>
                <a:gd name="T49" fmla="*/ 228 h 282"/>
                <a:gd name="T50" fmla="*/ 126 w 156"/>
                <a:gd name="T51" fmla="*/ 186 h 282"/>
                <a:gd name="T52" fmla="*/ 114 w 156"/>
                <a:gd name="T53" fmla="*/ 144 h 282"/>
                <a:gd name="T54" fmla="*/ 90 w 156"/>
                <a:gd name="T55" fmla="*/ 114 h 282"/>
                <a:gd name="T56" fmla="*/ 66 w 156"/>
                <a:gd name="T57" fmla="*/ 102 h 282"/>
                <a:gd name="T58" fmla="*/ 66 w 156"/>
                <a:gd name="T59" fmla="*/ 90 h 282"/>
                <a:gd name="T60" fmla="*/ 60 w 156"/>
                <a:gd name="T61" fmla="*/ 72 h 282"/>
                <a:gd name="T62" fmla="*/ 60 w 156"/>
                <a:gd name="T63" fmla="*/ 48 h 282"/>
                <a:gd name="T64" fmla="*/ 60 w 156"/>
                <a:gd name="T65" fmla="*/ 36 h 282"/>
                <a:gd name="T66" fmla="*/ 66 w 156"/>
                <a:gd name="T67" fmla="*/ 12 h 282"/>
                <a:gd name="T68" fmla="*/ 102 w 156"/>
                <a:gd name="T69" fmla="*/ 6 h 282"/>
                <a:gd name="T70" fmla="*/ 108 w 156"/>
                <a:gd name="T71" fmla="*/ 6 h 282"/>
                <a:gd name="T72" fmla="*/ 114 w 156"/>
                <a:gd name="T73" fmla="*/ 6 h 282"/>
                <a:gd name="T74" fmla="*/ 114 w 156"/>
                <a:gd name="T75" fmla="*/ 12 h 282"/>
                <a:gd name="T76" fmla="*/ 120 w 156"/>
                <a:gd name="T77" fmla="*/ 6 h 282"/>
                <a:gd name="T78" fmla="*/ 132 w 156"/>
                <a:gd name="T79" fmla="*/ 0 h 282"/>
                <a:gd name="T80" fmla="*/ 144 w 156"/>
                <a:gd name="T81" fmla="*/ 6 h 282"/>
                <a:gd name="T82" fmla="*/ 150 w 156"/>
                <a:gd name="T83" fmla="*/ 12 h 282"/>
                <a:gd name="T84" fmla="*/ 156 w 156"/>
                <a:gd name="T85" fmla="*/ 12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6"/>
                <a:gd name="T130" fmla="*/ 0 h 282"/>
                <a:gd name="T131" fmla="*/ 156 w 156"/>
                <a:gd name="T132" fmla="*/ 282 h 2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5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3881" y="2866"/>
              <a:ext cx="311" cy="581"/>
            </a:xfrm>
            <a:custGeom>
              <a:avLst/>
              <a:gdLst>
                <a:gd name="T0" fmla="*/ 66 w 366"/>
                <a:gd name="T1" fmla="*/ 372 h 684"/>
                <a:gd name="T2" fmla="*/ 54 w 366"/>
                <a:gd name="T3" fmla="*/ 360 h 684"/>
                <a:gd name="T4" fmla="*/ 42 w 366"/>
                <a:gd name="T5" fmla="*/ 324 h 684"/>
                <a:gd name="T6" fmla="*/ 36 w 366"/>
                <a:gd name="T7" fmla="*/ 288 h 684"/>
                <a:gd name="T8" fmla="*/ 42 w 366"/>
                <a:gd name="T9" fmla="*/ 270 h 684"/>
                <a:gd name="T10" fmla="*/ 54 w 366"/>
                <a:gd name="T11" fmla="*/ 246 h 684"/>
                <a:gd name="T12" fmla="*/ 66 w 366"/>
                <a:gd name="T13" fmla="*/ 228 h 684"/>
                <a:gd name="T14" fmla="*/ 96 w 366"/>
                <a:gd name="T15" fmla="*/ 210 h 684"/>
                <a:gd name="T16" fmla="*/ 108 w 366"/>
                <a:gd name="T17" fmla="*/ 204 h 684"/>
                <a:gd name="T18" fmla="*/ 120 w 366"/>
                <a:gd name="T19" fmla="*/ 210 h 684"/>
                <a:gd name="T20" fmla="*/ 132 w 366"/>
                <a:gd name="T21" fmla="*/ 192 h 684"/>
                <a:gd name="T22" fmla="*/ 150 w 366"/>
                <a:gd name="T23" fmla="*/ 192 h 684"/>
                <a:gd name="T24" fmla="*/ 162 w 366"/>
                <a:gd name="T25" fmla="*/ 198 h 684"/>
                <a:gd name="T26" fmla="*/ 168 w 366"/>
                <a:gd name="T27" fmla="*/ 180 h 684"/>
                <a:gd name="T28" fmla="*/ 192 w 366"/>
                <a:gd name="T29" fmla="*/ 168 h 684"/>
                <a:gd name="T30" fmla="*/ 198 w 366"/>
                <a:gd name="T31" fmla="*/ 168 h 684"/>
                <a:gd name="T32" fmla="*/ 204 w 366"/>
                <a:gd name="T33" fmla="*/ 156 h 684"/>
                <a:gd name="T34" fmla="*/ 216 w 366"/>
                <a:gd name="T35" fmla="*/ 144 h 684"/>
                <a:gd name="T36" fmla="*/ 222 w 366"/>
                <a:gd name="T37" fmla="*/ 138 h 684"/>
                <a:gd name="T38" fmla="*/ 228 w 366"/>
                <a:gd name="T39" fmla="*/ 120 h 684"/>
                <a:gd name="T40" fmla="*/ 240 w 366"/>
                <a:gd name="T41" fmla="*/ 120 h 684"/>
                <a:gd name="T42" fmla="*/ 240 w 366"/>
                <a:gd name="T43" fmla="*/ 102 h 684"/>
                <a:gd name="T44" fmla="*/ 240 w 366"/>
                <a:gd name="T45" fmla="*/ 84 h 684"/>
                <a:gd name="T46" fmla="*/ 264 w 366"/>
                <a:gd name="T47" fmla="*/ 84 h 684"/>
                <a:gd name="T48" fmla="*/ 276 w 366"/>
                <a:gd name="T49" fmla="*/ 72 h 684"/>
                <a:gd name="T50" fmla="*/ 288 w 366"/>
                <a:gd name="T51" fmla="*/ 54 h 684"/>
                <a:gd name="T52" fmla="*/ 276 w 366"/>
                <a:gd name="T53" fmla="*/ 24 h 684"/>
                <a:gd name="T54" fmla="*/ 294 w 366"/>
                <a:gd name="T55" fmla="*/ 12 h 684"/>
                <a:gd name="T56" fmla="*/ 300 w 366"/>
                <a:gd name="T57" fmla="*/ 0 h 684"/>
                <a:gd name="T58" fmla="*/ 306 w 366"/>
                <a:gd name="T59" fmla="*/ 18 h 684"/>
                <a:gd name="T60" fmla="*/ 312 w 366"/>
                <a:gd name="T61" fmla="*/ 18 h 684"/>
                <a:gd name="T62" fmla="*/ 324 w 366"/>
                <a:gd name="T63" fmla="*/ 42 h 684"/>
                <a:gd name="T64" fmla="*/ 336 w 366"/>
                <a:gd name="T65" fmla="*/ 60 h 684"/>
                <a:gd name="T66" fmla="*/ 348 w 366"/>
                <a:gd name="T67" fmla="*/ 102 h 684"/>
                <a:gd name="T68" fmla="*/ 354 w 366"/>
                <a:gd name="T69" fmla="*/ 150 h 684"/>
                <a:gd name="T70" fmla="*/ 360 w 366"/>
                <a:gd name="T71" fmla="*/ 180 h 684"/>
                <a:gd name="T72" fmla="*/ 336 w 366"/>
                <a:gd name="T73" fmla="*/ 192 h 684"/>
                <a:gd name="T74" fmla="*/ 324 w 366"/>
                <a:gd name="T75" fmla="*/ 180 h 684"/>
                <a:gd name="T76" fmla="*/ 330 w 366"/>
                <a:gd name="T77" fmla="*/ 216 h 684"/>
                <a:gd name="T78" fmla="*/ 330 w 366"/>
                <a:gd name="T79" fmla="*/ 246 h 684"/>
                <a:gd name="T80" fmla="*/ 312 w 366"/>
                <a:gd name="T81" fmla="*/ 288 h 684"/>
                <a:gd name="T82" fmla="*/ 306 w 366"/>
                <a:gd name="T83" fmla="*/ 330 h 684"/>
                <a:gd name="T84" fmla="*/ 276 w 366"/>
                <a:gd name="T85" fmla="*/ 408 h 684"/>
                <a:gd name="T86" fmla="*/ 258 w 366"/>
                <a:gd name="T87" fmla="*/ 474 h 684"/>
                <a:gd name="T88" fmla="*/ 234 w 366"/>
                <a:gd name="T89" fmla="*/ 534 h 684"/>
                <a:gd name="T90" fmla="*/ 222 w 366"/>
                <a:gd name="T91" fmla="*/ 582 h 684"/>
                <a:gd name="T92" fmla="*/ 204 w 366"/>
                <a:gd name="T93" fmla="*/ 630 h 684"/>
                <a:gd name="T94" fmla="*/ 180 w 366"/>
                <a:gd name="T95" fmla="*/ 654 h 684"/>
                <a:gd name="T96" fmla="*/ 132 w 366"/>
                <a:gd name="T97" fmla="*/ 672 h 684"/>
                <a:gd name="T98" fmla="*/ 96 w 366"/>
                <a:gd name="T99" fmla="*/ 678 h 684"/>
                <a:gd name="T100" fmla="*/ 48 w 366"/>
                <a:gd name="T101" fmla="*/ 654 h 684"/>
                <a:gd name="T102" fmla="*/ 24 w 366"/>
                <a:gd name="T103" fmla="*/ 618 h 684"/>
                <a:gd name="T104" fmla="*/ 30 w 366"/>
                <a:gd name="T105" fmla="*/ 570 h 684"/>
                <a:gd name="T106" fmla="*/ 6 w 366"/>
                <a:gd name="T107" fmla="*/ 534 h 684"/>
                <a:gd name="T108" fmla="*/ 6 w 366"/>
                <a:gd name="T109" fmla="*/ 492 h 684"/>
                <a:gd name="T110" fmla="*/ 18 w 366"/>
                <a:gd name="T111" fmla="*/ 480 h 684"/>
                <a:gd name="T112" fmla="*/ 18 w 366"/>
                <a:gd name="T113" fmla="*/ 474 h 684"/>
                <a:gd name="T114" fmla="*/ 36 w 366"/>
                <a:gd name="T115" fmla="*/ 462 h 684"/>
                <a:gd name="T116" fmla="*/ 42 w 366"/>
                <a:gd name="T117" fmla="*/ 444 h 684"/>
                <a:gd name="T118" fmla="*/ 60 w 366"/>
                <a:gd name="T119" fmla="*/ 414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6"/>
                <a:gd name="T181" fmla="*/ 0 h 684"/>
                <a:gd name="T182" fmla="*/ 366 w 366"/>
                <a:gd name="T183" fmla="*/ 684 h 6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53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3284" y="2463"/>
              <a:ext cx="76" cy="92"/>
            </a:xfrm>
            <a:custGeom>
              <a:avLst/>
              <a:gdLst>
                <a:gd name="T0" fmla="*/ 0 w 90"/>
                <a:gd name="T1" fmla="*/ 12 h 108"/>
                <a:gd name="T2" fmla="*/ 12 w 90"/>
                <a:gd name="T3" fmla="*/ 12 h 108"/>
                <a:gd name="T4" fmla="*/ 18 w 90"/>
                <a:gd name="T5" fmla="*/ 18 h 108"/>
                <a:gd name="T6" fmla="*/ 18 w 90"/>
                <a:gd name="T7" fmla="*/ 24 h 108"/>
                <a:gd name="T8" fmla="*/ 30 w 90"/>
                <a:gd name="T9" fmla="*/ 24 h 108"/>
                <a:gd name="T10" fmla="*/ 36 w 90"/>
                <a:gd name="T11" fmla="*/ 18 h 108"/>
                <a:gd name="T12" fmla="*/ 42 w 90"/>
                <a:gd name="T13" fmla="*/ 24 h 108"/>
                <a:gd name="T14" fmla="*/ 42 w 90"/>
                <a:gd name="T15" fmla="*/ 12 h 108"/>
                <a:gd name="T16" fmla="*/ 48 w 90"/>
                <a:gd name="T17" fmla="*/ 6 h 108"/>
                <a:gd name="T18" fmla="*/ 54 w 90"/>
                <a:gd name="T19" fmla="*/ 6 h 108"/>
                <a:gd name="T20" fmla="*/ 66 w 90"/>
                <a:gd name="T21" fmla="*/ 0 h 108"/>
                <a:gd name="T22" fmla="*/ 78 w 90"/>
                <a:gd name="T23" fmla="*/ 0 h 108"/>
                <a:gd name="T24" fmla="*/ 72 w 90"/>
                <a:gd name="T25" fmla="*/ 6 h 108"/>
                <a:gd name="T26" fmla="*/ 66 w 90"/>
                <a:gd name="T27" fmla="*/ 18 h 108"/>
                <a:gd name="T28" fmla="*/ 72 w 90"/>
                <a:gd name="T29" fmla="*/ 24 h 108"/>
                <a:gd name="T30" fmla="*/ 72 w 90"/>
                <a:gd name="T31" fmla="*/ 24 h 108"/>
                <a:gd name="T32" fmla="*/ 78 w 90"/>
                <a:gd name="T33" fmla="*/ 30 h 108"/>
                <a:gd name="T34" fmla="*/ 90 w 90"/>
                <a:gd name="T35" fmla="*/ 30 h 108"/>
                <a:gd name="T36" fmla="*/ 90 w 90"/>
                <a:gd name="T37" fmla="*/ 42 h 108"/>
                <a:gd name="T38" fmla="*/ 84 w 90"/>
                <a:gd name="T39" fmla="*/ 48 h 108"/>
                <a:gd name="T40" fmla="*/ 78 w 90"/>
                <a:gd name="T41" fmla="*/ 54 h 108"/>
                <a:gd name="T42" fmla="*/ 78 w 90"/>
                <a:gd name="T43" fmla="*/ 54 h 108"/>
                <a:gd name="T44" fmla="*/ 72 w 90"/>
                <a:gd name="T45" fmla="*/ 60 h 108"/>
                <a:gd name="T46" fmla="*/ 66 w 90"/>
                <a:gd name="T47" fmla="*/ 72 h 108"/>
                <a:gd name="T48" fmla="*/ 60 w 90"/>
                <a:gd name="T49" fmla="*/ 84 h 108"/>
                <a:gd name="T50" fmla="*/ 54 w 90"/>
                <a:gd name="T51" fmla="*/ 90 h 108"/>
                <a:gd name="T52" fmla="*/ 48 w 90"/>
                <a:gd name="T53" fmla="*/ 96 h 108"/>
                <a:gd name="T54" fmla="*/ 42 w 90"/>
                <a:gd name="T55" fmla="*/ 102 h 108"/>
                <a:gd name="T56" fmla="*/ 36 w 90"/>
                <a:gd name="T57" fmla="*/ 108 h 108"/>
                <a:gd name="T58" fmla="*/ 30 w 90"/>
                <a:gd name="T59" fmla="*/ 102 h 108"/>
                <a:gd name="T60" fmla="*/ 18 w 90"/>
                <a:gd name="T61" fmla="*/ 90 h 108"/>
                <a:gd name="T62" fmla="*/ 12 w 90"/>
                <a:gd name="T63" fmla="*/ 84 h 108"/>
                <a:gd name="T64" fmla="*/ 12 w 90"/>
                <a:gd name="T65" fmla="*/ 72 h 108"/>
                <a:gd name="T66" fmla="*/ 12 w 90"/>
                <a:gd name="T67" fmla="*/ 60 h 108"/>
                <a:gd name="T68" fmla="*/ 6 w 90"/>
                <a:gd name="T69" fmla="*/ 48 h 108"/>
                <a:gd name="T70" fmla="*/ 6 w 90"/>
                <a:gd name="T71" fmla="*/ 42 h 108"/>
                <a:gd name="T72" fmla="*/ 6 w 90"/>
                <a:gd name="T73" fmla="*/ 42 h 108"/>
                <a:gd name="T74" fmla="*/ 12 w 90"/>
                <a:gd name="T75" fmla="*/ 36 h 108"/>
                <a:gd name="T76" fmla="*/ 12 w 90"/>
                <a:gd name="T77" fmla="*/ 36 h 108"/>
                <a:gd name="T78" fmla="*/ 6 w 90"/>
                <a:gd name="T79" fmla="*/ 30 h 108"/>
                <a:gd name="T80" fmla="*/ 0 w 90"/>
                <a:gd name="T81" fmla="*/ 24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0"/>
                <a:gd name="T124" fmla="*/ 0 h 108"/>
                <a:gd name="T125" fmla="*/ 90 w 90"/>
                <a:gd name="T126" fmla="*/ 108 h 1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54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3437" y="2759"/>
              <a:ext cx="137" cy="326"/>
            </a:xfrm>
            <a:custGeom>
              <a:avLst/>
              <a:gdLst>
                <a:gd name="T0" fmla="*/ 24 w 162"/>
                <a:gd name="T1" fmla="*/ 6 h 384"/>
                <a:gd name="T2" fmla="*/ 42 w 162"/>
                <a:gd name="T3" fmla="*/ 12 h 384"/>
                <a:gd name="T4" fmla="*/ 60 w 162"/>
                <a:gd name="T5" fmla="*/ 18 h 384"/>
                <a:gd name="T6" fmla="*/ 72 w 162"/>
                <a:gd name="T7" fmla="*/ 6 h 384"/>
                <a:gd name="T8" fmla="*/ 84 w 162"/>
                <a:gd name="T9" fmla="*/ 18 h 384"/>
                <a:gd name="T10" fmla="*/ 90 w 162"/>
                <a:gd name="T11" fmla="*/ 36 h 384"/>
                <a:gd name="T12" fmla="*/ 96 w 162"/>
                <a:gd name="T13" fmla="*/ 60 h 384"/>
                <a:gd name="T14" fmla="*/ 96 w 162"/>
                <a:gd name="T15" fmla="*/ 84 h 384"/>
                <a:gd name="T16" fmla="*/ 108 w 162"/>
                <a:gd name="T17" fmla="*/ 96 h 384"/>
                <a:gd name="T18" fmla="*/ 96 w 162"/>
                <a:gd name="T19" fmla="*/ 108 h 384"/>
                <a:gd name="T20" fmla="*/ 90 w 162"/>
                <a:gd name="T21" fmla="*/ 138 h 384"/>
                <a:gd name="T22" fmla="*/ 90 w 162"/>
                <a:gd name="T23" fmla="*/ 162 h 384"/>
                <a:gd name="T24" fmla="*/ 96 w 162"/>
                <a:gd name="T25" fmla="*/ 186 h 384"/>
                <a:gd name="T26" fmla="*/ 96 w 162"/>
                <a:gd name="T27" fmla="*/ 204 h 384"/>
                <a:gd name="T28" fmla="*/ 126 w 162"/>
                <a:gd name="T29" fmla="*/ 222 h 384"/>
                <a:gd name="T30" fmla="*/ 162 w 162"/>
                <a:gd name="T31" fmla="*/ 276 h 384"/>
                <a:gd name="T32" fmla="*/ 156 w 162"/>
                <a:gd name="T33" fmla="*/ 330 h 384"/>
                <a:gd name="T34" fmla="*/ 138 w 162"/>
                <a:gd name="T35" fmla="*/ 336 h 384"/>
                <a:gd name="T36" fmla="*/ 132 w 162"/>
                <a:gd name="T37" fmla="*/ 354 h 384"/>
                <a:gd name="T38" fmla="*/ 132 w 162"/>
                <a:gd name="T39" fmla="*/ 366 h 384"/>
                <a:gd name="T40" fmla="*/ 120 w 162"/>
                <a:gd name="T41" fmla="*/ 384 h 384"/>
                <a:gd name="T42" fmla="*/ 120 w 162"/>
                <a:gd name="T43" fmla="*/ 372 h 384"/>
                <a:gd name="T44" fmla="*/ 108 w 162"/>
                <a:gd name="T45" fmla="*/ 360 h 384"/>
                <a:gd name="T46" fmla="*/ 96 w 162"/>
                <a:gd name="T47" fmla="*/ 348 h 384"/>
                <a:gd name="T48" fmla="*/ 84 w 162"/>
                <a:gd name="T49" fmla="*/ 342 h 384"/>
                <a:gd name="T50" fmla="*/ 84 w 162"/>
                <a:gd name="T51" fmla="*/ 330 h 384"/>
                <a:gd name="T52" fmla="*/ 84 w 162"/>
                <a:gd name="T53" fmla="*/ 318 h 384"/>
                <a:gd name="T54" fmla="*/ 90 w 162"/>
                <a:gd name="T55" fmla="*/ 300 h 384"/>
                <a:gd name="T56" fmla="*/ 96 w 162"/>
                <a:gd name="T57" fmla="*/ 294 h 384"/>
                <a:gd name="T58" fmla="*/ 96 w 162"/>
                <a:gd name="T59" fmla="*/ 270 h 384"/>
                <a:gd name="T60" fmla="*/ 90 w 162"/>
                <a:gd name="T61" fmla="*/ 258 h 384"/>
                <a:gd name="T62" fmla="*/ 72 w 162"/>
                <a:gd name="T63" fmla="*/ 252 h 384"/>
                <a:gd name="T64" fmla="*/ 54 w 162"/>
                <a:gd name="T65" fmla="*/ 258 h 384"/>
                <a:gd name="T66" fmla="*/ 42 w 162"/>
                <a:gd name="T67" fmla="*/ 246 h 384"/>
                <a:gd name="T68" fmla="*/ 30 w 162"/>
                <a:gd name="T69" fmla="*/ 234 h 384"/>
                <a:gd name="T70" fmla="*/ 18 w 162"/>
                <a:gd name="T71" fmla="*/ 228 h 384"/>
                <a:gd name="T72" fmla="*/ 12 w 162"/>
                <a:gd name="T73" fmla="*/ 222 h 384"/>
                <a:gd name="T74" fmla="*/ 6 w 162"/>
                <a:gd name="T75" fmla="*/ 216 h 384"/>
                <a:gd name="T76" fmla="*/ 0 w 162"/>
                <a:gd name="T77" fmla="*/ 210 h 384"/>
                <a:gd name="T78" fmla="*/ 12 w 162"/>
                <a:gd name="T79" fmla="*/ 192 h 384"/>
                <a:gd name="T80" fmla="*/ 18 w 162"/>
                <a:gd name="T81" fmla="*/ 174 h 384"/>
                <a:gd name="T82" fmla="*/ 18 w 162"/>
                <a:gd name="T83" fmla="*/ 162 h 384"/>
                <a:gd name="T84" fmla="*/ 36 w 162"/>
                <a:gd name="T85" fmla="*/ 156 h 384"/>
                <a:gd name="T86" fmla="*/ 36 w 162"/>
                <a:gd name="T87" fmla="*/ 144 h 384"/>
                <a:gd name="T88" fmla="*/ 30 w 162"/>
                <a:gd name="T89" fmla="*/ 126 h 384"/>
                <a:gd name="T90" fmla="*/ 30 w 162"/>
                <a:gd name="T91" fmla="*/ 108 h 384"/>
                <a:gd name="T92" fmla="*/ 30 w 162"/>
                <a:gd name="T93" fmla="*/ 96 h 384"/>
                <a:gd name="T94" fmla="*/ 30 w 162"/>
                <a:gd name="T95" fmla="*/ 84 h 384"/>
                <a:gd name="T96" fmla="*/ 42 w 162"/>
                <a:gd name="T97" fmla="*/ 66 h 384"/>
                <a:gd name="T98" fmla="*/ 48 w 162"/>
                <a:gd name="T99" fmla="*/ 60 h 384"/>
                <a:gd name="T100" fmla="*/ 36 w 162"/>
                <a:gd name="T101" fmla="*/ 36 h 384"/>
                <a:gd name="T102" fmla="*/ 30 w 162"/>
                <a:gd name="T103" fmla="*/ 24 h 384"/>
                <a:gd name="T104" fmla="*/ 24 w 162"/>
                <a:gd name="T105" fmla="*/ 18 h 384"/>
                <a:gd name="T106" fmla="*/ 12 w 162"/>
                <a:gd name="T107" fmla="*/ 6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2"/>
                <a:gd name="T163" fmla="*/ 0 h 384"/>
                <a:gd name="T164" fmla="*/ 162 w 162"/>
                <a:gd name="T165" fmla="*/ 384 h 3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1" name="Group 55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294" y="2406"/>
              <a:ext cx="469" cy="454"/>
              <a:chOff x="3294" y="2406"/>
              <a:chExt cx="469" cy="454"/>
            </a:xfrm>
            <a:grpFill/>
          </p:grpSpPr>
          <p:sp>
            <p:nvSpPr>
              <p:cNvPr id="164" name="Freeform 56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294" y="2406"/>
                <a:ext cx="469" cy="454"/>
              </a:xfrm>
              <a:custGeom>
                <a:avLst/>
                <a:gdLst>
                  <a:gd name="T0" fmla="*/ 30 w 552"/>
                  <a:gd name="T1" fmla="*/ 168 h 534"/>
                  <a:gd name="T2" fmla="*/ 48 w 552"/>
                  <a:gd name="T3" fmla="*/ 150 h 534"/>
                  <a:gd name="T4" fmla="*/ 66 w 552"/>
                  <a:gd name="T5" fmla="*/ 120 h 534"/>
                  <a:gd name="T6" fmla="*/ 78 w 552"/>
                  <a:gd name="T7" fmla="*/ 108 h 534"/>
                  <a:gd name="T8" fmla="*/ 60 w 552"/>
                  <a:gd name="T9" fmla="*/ 90 h 534"/>
                  <a:gd name="T10" fmla="*/ 60 w 552"/>
                  <a:gd name="T11" fmla="*/ 72 h 534"/>
                  <a:gd name="T12" fmla="*/ 78 w 552"/>
                  <a:gd name="T13" fmla="*/ 60 h 534"/>
                  <a:gd name="T14" fmla="*/ 78 w 552"/>
                  <a:gd name="T15" fmla="*/ 36 h 534"/>
                  <a:gd name="T16" fmla="*/ 60 w 552"/>
                  <a:gd name="T17" fmla="*/ 12 h 534"/>
                  <a:gd name="T18" fmla="*/ 90 w 552"/>
                  <a:gd name="T19" fmla="*/ 0 h 534"/>
                  <a:gd name="T20" fmla="*/ 288 w 552"/>
                  <a:gd name="T21" fmla="*/ 30 h 534"/>
                  <a:gd name="T22" fmla="*/ 414 w 552"/>
                  <a:gd name="T23" fmla="*/ 96 h 534"/>
                  <a:gd name="T24" fmla="*/ 426 w 552"/>
                  <a:gd name="T25" fmla="*/ 132 h 534"/>
                  <a:gd name="T26" fmla="*/ 492 w 552"/>
                  <a:gd name="T27" fmla="*/ 192 h 534"/>
                  <a:gd name="T28" fmla="*/ 486 w 552"/>
                  <a:gd name="T29" fmla="*/ 198 h 534"/>
                  <a:gd name="T30" fmla="*/ 486 w 552"/>
                  <a:gd name="T31" fmla="*/ 210 h 534"/>
                  <a:gd name="T32" fmla="*/ 480 w 552"/>
                  <a:gd name="T33" fmla="*/ 228 h 534"/>
                  <a:gd name="T34" fmla="*/ 474 w 552"/>
                  <a:gd name="T35" fmla="*/ 264 h 534"/>
                  <a:gd name="T36" fmla="*/ 480 w 552"/>
                  <a:gd name="T37" fmla="*/ 270 h 534"/>
                  <a:gd name="T38" fmla="*/ 492 w 552"/>
                  <a:gd name="T39" fmla="*/ 282 h 534"/>
                  <a:gd name="T40" fmla="*/ 510 w 552"/>
                  <a:gd name="T41" fmla="*/ 300 h 534"/>
                  <a:gd name="T42" fmla="*/ 498 w 552"/>
                  <a:gd name="T43" fmla="*/ 312 h 534"/>
                  <a:gd name="T44" fmla="*/ 498 w 552"/>
                  <a:gd name="T45" fmla="*/ 336 h 534"/>
                  <a:gd name="T46" fmla="*/ 498 w 552"/>
                  <a:gd name="T47" fmla="*/ 354 h 534"/>
                  <a:gd name="T48" fmla="*/ 498 w 552"/>
                  <a:gd name="T49" fmla="*/ 384 h 534"/>
                  <a:gd name="T50" fmla="*/ 504 w 552"/>
                  <a:gd name="T51" fmla="*/ 390 h 534"/>
                  <a:gd name="T52" fmla="*/ 510 w 552"/>
                  <a:gd name="T53" fmla="*/ 402 h 534"/>
                  <a:gd name="T54" fmla="*/ 510 w 552"/>
                  <a:gd name="T55" fmla="*/ 402 h 534"/>
                  <a:gd name="T56" fmla="*/ 516 w 552"/>
                  <a:gd name="T57" fmla="*/ 426 h 534"/>
                  <a:gd name="T58" fmla="*/ 516 w 552"/>
                  <a:gd name="T59" fmla="*/ 444 h 534"/>
                  <a:gd name="T60" fmla="*/ 534 w 552"/>
                  <a:gd name="T61" fmla="*/ 456 h 534"/>
                  <a:gd name="T62" fmla="*/ 540 w 552"/>
                  <a:gd name="T63" fmla="*/ 462 h 534"/>
                  <a:gd name="T64" fmla="*/ 552 w 552"/>
                  <a:gd name="T65" fmla="*/ 462 h 534"/>
                  <a:gd name="T66" fmla="*/ 528 w 552"/>
                  <a:gd name="T67" fmla="*/ 486 h 534"/>
                  <a:gd name="T68" fmla="*/ 498 w 552"/>
                  <a:gd name="T69" fmla="*/ 504 h 534"/>
                  <a:gd name="T70" fmla="*/ 468 w 552"/>
                  <a:gd name="T71" fmla="*/ 510 h 534"/>
                  <a:gd name="T72" fmla="*/ 444 w 552"/>
                  <a:gd name="T73" fmla="*/ 510 h 534"/>
                  <a:gd name="T74" fmla="*/ 420 w 552"/>
                  <a:gd name="T75" fmla="*/ 522 h 534"/>
                  <a:gd name="T76" fmla="*/ 402 w 552"/>
                  <a:gd name="T77" fmla="*/ 528 h 534"/>
                  <a:gd name="T78" fmla="*/ 372 w 552"/>
                  <a:gd name="T79" fmla="*/ 522 h 534"/>
                  <a:gd name="T80" fmla="*/ 354 w 552"/>
                  <a:gd name="T81" fmla="*/ 528 h 534"/>
                  <a:gd name="T82" fmla="*/ 342 w 552"/>
                  <a:gd name="T83" fmla="*/ 522 h 534"/>
                  <a:gd name="T84" fmla="*/ 318 w 552"/>
                  <a:gd name="T85" fmla="*/ 522 h 534"/>
                  <a:gd name="T86" fmla="*/ 312 w 552"/>
                  <a:gd name="T87" fmla="*/ 522 h 534"/>
                  <a:gd name="T88" fmla="*/ 300 w 552"/>
                  <a:gd name="T89" fmla="*/ 522 h 534"/>
                  <a:gd name="T90" fmla="*/ 270 w 552"/>
                  <a:gd name="T91" fmla="*/ 504 h 534"/>
                  <a:gd name="T92" fmla="*/ 264 w 552"/>
                  <a:gd name="T93" fmla="*/ 474 h 534"/>
                  <a:gd name="T94" fmla="*/ 258 w 552"/>
                  <a:gd name="T95" fmla="*/ 444 h 534"/>
                  <a:gd name="T96" fmla="*/ 240 w 552"/>
                  <a:gd name="T97" fmla="*/ 420 h 534"/>
                  <a:gd name="T98" fmla="*/ 222 w 552"/>
                  <a:gd name="T99" fmla="*/ 426 h 534"/>
                  <a:gd name="T100" fmla="*/ 192 w 552"/>
                  <a:gd name="T101" fmla="*/ 420 h 534"/>
                  <a:gd name="T102" fmla="*/ 168 w 552"/>
                  <a:gd name="T103" fmla="*/ 408 h 534"/>
                  <a:gd name="T104" fmla="*/ 138 w 552"/>
                  <a:gd name="T105" fmla="*/ 402 h 534"/>
                  <a:gd name="T106" fmla="*/ 114 w 552"/>
                  <a:gd name="T107" fmla="*/ 390 h 534"/>
                  <a:gd name="T108" fmla="*/ 90 w 552"/>
                  <a:gd name="T109" fmla="*/ 378 h 534"/>
                  <a:gd name="T110" fmla="*/ 72 w 552"/>
                  <a:gd name="T111" fmla="*/ 348 h 534"/>
                  <a:gd name="T112" fmla="*/ 48 w 552"/>
                  <a:gd name="T113" fmla="*/ 300 h 534"/>
                  <a:gd name="T114" fmla="*/ 18 w 552"/>
                  <a:gd name="T115" fmla="*/ 264 h 534"/>
                  <a:gd name="T116" fmla="*/ 18 w 552"/>
                  <a:gd name="T117" fmla="*/ 228 h 534"/>
                  <a:gd name="T118" fmla="*/ 0 w 552"/>
                  <a:gd name="T119" fmla="*/ 192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52"/>
                  <a:gd name="T181" fmla="*/ 0 h 534"/>
                  <a:gd name="T182" fmla="*/ 552 w 552"/>
                  <a:gd name="T183" fmla="*/ 534 h 53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" name="Freeform 57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728" y="2687"/>
                <a:ext cx="15" cy="15"/>
              </a:xfrm>
              <a:custGeom>
                <a:avLst/>
                <a:gdLst>
                  <a:gd name="T0" fmla="*/ 12 w 18"/>
                  <a:gd name="T1" fmla="*/ 6 h 18"/>
                  <a:gd name="T2" fmla="*/ 18 w 18"/>
                  <a:gd name="T3" fmla="*/ 6 h 18"/>
                  <a:gd name="T4" fmla="*/ 12 w 18"/>
                  <a:gd name="T5" fmla="*/ 6 h 18"/>
                  <a:gd name="T6" fmla="*/ 18 w 18"/>
                  <a:gd name="T7" fmla="*/ 0 h 18"/>
                  <a:gd name="T8" fmla="*/ 18 w 18"/>
                  <a:gd name="T9" fmla="*/ 6 h 18"/>
                  <a:gd name="T10" fmla="*/ 12 w 18"/>
                  <a:gd name="T11" fmla="*/ 12 h 18"/>
                  <a:gd name="T12" fmla="*/ 18 w 18"/>
                  <a:gd name="T13" fmla="*/ 12 h 18"/>
                  <a:gd name="T14" fmla="*/ 12 w 18"/>
                  <a:gd name="T15" fmla="*/ 12 h 18"/>
                  <a:gd name="T16" fmla="*/ 6 w 18"/>
                  <a:gd name="T17" fmla="*/ 12 h 18"/>
                  <a:gd name="T18" fmla="*/ 12 w 18"/>
                  <a:gd name="T19" fmla="*/ 18 h 18"/>
                  <a:gd name="T20" fmla="*/ 6 w 18"/>
                  <a:gd name="T21" fmla="*/ 18 h 18"/>
                  <a:gd name="T22" fmla="*/ 0 w 18"/>
                  <a:gd name="T23" fmla="*/ 12 h 18"/>
                  <a:gd name="T24" fmla="*/ 6 w 18"/>
                  <a:gd name="T25" fmla="*/ 12 h 18"/>
                  <a:gd name="T26" fmla="*/ 6 w 18"/>
                  <a:gd name="T27" fmla="*/ 6 h 18"/>
                  <a:gd name="T28" fmla="*/ 6 w 18"/>
                  <a:gd name="T29" fmla="*/ 12 h 18"/>
                  <a:gd name="T30" fmla="*/ 6 w 18"/>
                  <a:gd name="T31" fmla="*/ 6 h 18"/>
                  <a:gd name="T32" fmla="*/ 12 w 18"/>
                  <a:gd name="T33" fmla="*/ 6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18"/>
                  <a:gd name="T53" fmla="*/ 18 w 18"/>
                  <a:gd name="T54" fmla="*/ 18 h 1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6" name="Freeform 58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733" y="2570"/>
                <a:ext cx="10" cy="25"/>
              </a:xfrm>
              <a:custGeom>
                <a:avLst/>
                <a:gdLst>
                  <a:gd name="T0" fmla="*/ 12 w 12"/>
                  <a:gd name="T1" fmla="*/ 6 h 30"/>
                  <a:gd name="T2" fmla="*/ 6 w 12"/>
                  <a:gd name="T3" fmla="*/ 6 h 30"/>
                  <a:gd name="T4" fmla="*/ 6 w 12"/>
                  <a:gd name="T5" fmla="*/ 12 h 30"/>
                  <a:gd name="T6" fmla="*/ 12 w 12"/>
                  <a:gd name="T7" fmla="*/ 12 h 30"/>
                  <a:gd name="T8" fmla="*/ 12 w 12"/>
                  <a:gd name="T9" fmla="*/ 18 h 30"/>
                  <a:gd name="T10" fmla="*/ 6 w 12"/>
                  <a:gd name="T11" fmla="*/ 18 h 30"/>
                  <a:gd name="T12" fmla="*/ 6 w 12"/>
                  <a:gd name="T13" fmla="*/ 24 h 30"/>
                  <a:gd name="T14" fmla="*/ 6 w 12"/>
                  <a:gd name="T15" fmla="*/ 30 h 30"/>
                  <a:gd name="T16" fmla="*/ 6 w 12"/>
                  <a:gd name="T17" fmla="*/ 24 h 30"/>
                  <a:gd name="T18" fmla="*/ 0 w 12"/>
                  <a:gd name="T19" fmla="*/ 24 h 30"/>
                  <a:gd name="T20" fmla="*/ 0 w 12"/>
                  <a:gd name="T21" fmla="*/ 30 h 30"/>
                  <a:gd name="T22" fmla="*/ 0 w 12"/>
                  <a:gd name="T23" fmla="*/ 24 h 30"/>
                  <a:gd name="T24" fmla="*/ 0 w 12"/>
                  <a:gd name="T25" fmla="*/ 30 h 30"/>
                  <a:gd name="T26" fmla="*/ 0 w 12"/>
                  <a:gd name="T27" fmla="*/ 24 h 30"/>
                  <a:gd name="T28" fmla="*/ 0 w 12"/>
                  <a:gd name="T29" fmla="*/ 18 h 30"/>
                  <a:gd name="T30" fmla="*/ 0 w 12"/>
                  <a:gd name="T31" fmla="*/ 24 h 30"/>
                  <a:gd name="T32" fmla="*/ 0 w 12"/>
                  <a:gd name="T33" fmla="*/ 18 h 30"/>
                  <a:gd name="T34" fmla="*/ 6 w 12"/>
                  <a:gd name="T35" fmla="*/ 18 h 30"/>
                  <a:gd name="T36" fmla="*/ 0 w 12"/>
                  <a:gd name="T37" fmla="*/ 18 h 30"/>
                  <a:gd name="T38" fmla="*/ 6 w 12"/>
                  <a:gd name="T39" fmla="*/ 18 h 30"/>
                  <a:gd name="T40" fmla="*/ 6 w 12"/>
                  <a:gd name="T41" fmla="*/ 12 h 30"/>
                  <a:gd name="T42" fmla="*/ 0 w 12"/>
                  <a:gd name="T43" fmla="*/ 12 h 30"/>
                  <a:gd name="T44" fmla="*/ 6 w 12"/>
                  <a:gd name="T45" fmla="*/ 12 h 30"/>
                  <a:gd name="T46" fmla="*/ 0 w 12"/>
                  <a:gd name="T47" fmla="*/ 12 h 30"/>
                  <a:gd name="T48" fmla="*/ 0 w 12"/>
                  <a:gd name="T49" fmla="*/ 6 h 30"/>
                  <a:gd name="T50" fmla="*/ 0 w 12"/>
                  <a:gd name="T51" fmla="*/ 0 h 30"/>
                  <a:gd name="T52" fmla="*/ 6 w 12"/>
                  <a:gd name="T53" fmla="*/ 0 h 30"/>
                  <a:gd name="T54" fmla="*/ 6 w 12"/>
                  <a:gd name="T55" fmla="*/ 6 h 30"/>
                  <a:gd name="T56" fmla="*/ 6 w 12"/>
                  <a:gd name="T57" fmla="*/ 0 h 30"/>
                  <a:gd name="T58" fmla="*/ 6 w 12"/>
                  <a:gd name="T59" fmla="*/ 6 h 30"/>
                  <a:gd name="T60" fmla="*/ 12 w 12"/>
                  <a:gd name="T61" fmla="*/ 6 h 30"/>
                  <a:gd name="T62" fmla="*/ 12 w 12"/>
                  <a:gd name="T63" fmla="*/ 0 h 30"/>
                  <a:gd name="T64" fmla="*/ 12 w 12"/>
                  <a:gd name="T65" fmla="*/ 6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"/>
                  <a:gd name="T100" fmla="*/ 0 h 30"/>
                  <a:gd name="T101" fmla="*/ 12 w 1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7" name="Freeform 59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712" y="2606"/>
                <a:ext cx="16" cy="30"/>
              </a:xfrm>
              <a:custGeom>
                <a:avLst/>
                <a:gdLst>
                  <a:gd name="T0" fmla="*/ 0 w 18"/>
                  <a:gd name="T1" fmla="*/ 12 h 36"/>
                  <a:gd name="T2" fmla="*/ 0 w 18"/>
                  <a:gd name="T3" fmla="*/ 6 h 36"/>
                  <a:gd name="T4" fmla="*/ 6 w 18"/>
                  <a:gd name="T5" fmla="*/ 6 h 36"/>
                  <a:gd name="T6" fmla="*/ 6 w 18"/>
                  <a:gd name="T7" fmla="*/ 0 h 36"/>
                  <a:gd name="T8" fmla="*/ 6 w 18"/>
                  <a:gd name="T9" fmla="*/ 6 h 36"/>
                  <a:gd name="T10" fmla="*/ 12 w 18"/>
                  <a:gd name="T11" fmla="*/ 12 h 36"/>
                  <a:gd name="T12" fmla="*/ 12 w 18"/>
                  <a:gd name="T13" fmla="*/ 18 h 36"/>
                  <a:gd name="T14" fmla="*/ 12 w 18"/>
                  <a:gd name="T15" fmla="*/ 24 h 36"/>
                  <a:gd name="T16" fmla="*/ 18 w 18"/>
                  <a:gd name="T17" fmla="*/ 24 h 36"/>
                  <a:gd name="T18" fmla="*/ 18 w 18"/>
                  <a:gd name="T19" fmla="*/ 18 h 36"/>
                  <a:gd name="T20" fmla="*/ 18 w 18"/>
                  <a:gd name="T21" fmla="*/ 24 h 36"/>
                  <a:gd name="T22" fmla="*/ 18 w 18"/>
                  <a:gd name="T23" fmla="*/ 30 h 36"/>
                  <a:gd name="T24" fmla="*/ 18 w 18"/>
                  <a:gd name="T25" fmla="*/ 36 h 36"/>
                  <a:gd name="T26" fmla="*/ 12 w 18"/>
                  <a:gd name="T27" fmla="*/ 36 h 36"/>
                  <a:gd name="T28" fmla="*/ 12 w 18"/>
                  <a:gd name="T29" fmla="*/ 30 h 36"/>
                  <a:gd name="T30" fmla="*/ 6 w 18"/>
                  <a:gd name="T31" fmla="*/ 30 h 36"/>
                  <a:gd name="T32" fmla="*/ 6 w 18"/>
                  <a:gd name="T33" fmla="*/ 24 h 36"/>
                  <a:gd name="T34" fmla="*/ 6 w 18"/>
                  <a:gd name="T35" fmla="*/ 30 h 36"/>
                  <a:gd name="T36" fmla="*/ 0 w 18"/>
                  <a:gd name="T37" fmla="*/ 24 h 36"/>
                  <a:gd name="T38" fmla="*/ 0 w 18"/>
                  <a:gd name="T39" fmla="*/ 18 h 36"/>
                  <a:gd name="T40" fmla="*/ 0 w 18"/>
                  <a:gd name="T41" fmla="*/ 12 h 36"/>
                  <a:gd name="T42" fmla="*/ 0 w 18"/>
                  <a:gd name="T43" fmla="*/ 6 h 36"/>
                  <a:gd name="T44" fmla="*/ 0 w 18"/>
                  <a:gd name="T45" fmla="*/ 12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8"/>
                  <a:gd name="T70" fmla="*/ 0 h 36"/>
                  <a:gd name="T71" fmla="*/ 18 w 18"/>
                  <a:gd name="T72" fmla="*/ 36 h 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2" name="Freeform 60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auto">
            <a:xfrm>
              <a:off x="3279" y="2407"/>
              <a:ext cx="81" cy="76"/>
            </a:xfrm>
            <a:custGeom>
              <a:avLst/>
              <a:gdLst>
                <a:gd name="T0" fmla="*/ 42 w 96"/>
                <a:gd name="T1" fmla="*/ 18 h 90"/>
                <a:gd name="T2" fmla="*/ 48 w 96"/>
                <a:gd name="T3" fmla="*/ 12 h 90"/>
                <a:gd name="T4" fmla="*/ 48 w 96"/>
                <a:gd name="T5" fmla="*/ 24 h 90"/>
                <a:gd name="T6" fmla="*/ 54 w 96"/>
                <a:gd name="T7" fmla="*/ 18 h 90"/>
                <a:gd name="T8" fmla="*/ 60 w 96"/>
                <a:gd name="T9" fmla="*/ 12 h 90"/>
                <a:gd name="T10" fmla="*/ 66 w 96"/>
                <a:gd name="T11" fmla="*/ 6 h 90"/>
                <a:gd name="T12" fmla="*/ 72 w 96"/>
                <a:gd name="T13" fmla="*/ 0 h 90"/>
                <a:gd name="T14" fmla="*/ 78 w 96"/>
                <a:gd name="T15" fmla="*/ 6 h 90"/>
                <a:gd name="T16" fmla="*/ 84 w 96"/>
                <a:gd name="T17" fmla="*/ 12 h 90"/>
                <a:gd name="T18" fmla="*/ 90 w 96"/>
                <a:gd name="T19" fmla="*/ 18 h 90"/>
                <a:gd name="T20" fmla="*/ 96 w 96"/>
                <a:gd name="T21" fmla="*/ 30 h 90"/>
                <a:gd name="T22" fmla="*/ 96 w 96"/>
                <a:gd name="T23" fmla="*/ 42 h 90"/>
                <a:gd name="T24" fmla="*/ 90 w 96"/>
                <a:gd name="T25" fmla="*/ 48 h 90"/>
                <a:gd name="T26" fmla="*/ 96 w 96"/>
                <a:gd name="T27" fmla="*/ 54 h 90"/>
                <a:gd name="T28" fmla="*/ 96 w 96"/>
                <a:gd name="T29" fmla="*/ 66 h 90"/>
                <a:gd name="T30" fmla="*/ 84 w 96"/>
                <a:gd name="T31" fmla="*/ 72 h 90"/>
                <a:gd name="T32" fmla="*/ 84 w 96"/>
                <a:gd name="T33" fmla="*/ 72 h 90"/>
                <a:gd name="T34" fmla="*/ 78 w 96"/>
                <a:gd name="T35" fmla="*/ 66 h 90"/>
                <a:gd name="T36" fmla="*/ 66 w 96"/>
                <a:gd name="T37" fmla="*/ 66 h 90"/>
                <a:gd name="T38" fmla="*/ 54 w 96"/>
                <a:gd name="T39" fmla="*/ 66 h 90"/>
                <a:gd name="T40" fmla="*/ 48 w 96"/>
                <a:gd name="T41" fmla="*/ 72 h 90"/>
                <a:gd name="T42" fmla="*/ 48 w 96"/>
                <a:gd name="T43" fmla="*/ 84 h 90"/>
                <a:gd name="T44" fmla="*/ 42 w 96"/>
                <a:gd name="T45" fmla="*/ 90 h 90"/>
                <a:gd name="T46" fmla="*/ 42 w 96"/>
                <a:gd name="T47" fmla="*/ 90 h 90"/>
                <a:gd name="T48" fmla="*/ 30 w 96"/>
                <a:gd name="T49" fmla="*/ 90 h 90"/>
                <a:gd name="T50" fmla="*/ 18 w 96"/>
                <a:gd name="T51" fmla="*/ 84 h 90"/>
                <a:gd name="T52" fmla="*/ 18 w 96"/>
                <a:gd name="T53" fmla="*/ 84 h 90"/>
                <a:gd name="T54" fmla="*/ 12 w 96"/>
                <a:gd name="T55" fmla="*/ 78 h 90"/>
                <a:gd name="T56" fmla="*/ 6 w 96"/>
                <a:gd name="T57" fmla="*/ 84 h 90"/>
                <a:gd name="T58" fmla="*/ 0 w 96"/>
                <a:gd name="T59" fmla="*/ 78 h 90"/>
                <a:gd name="T60" fmla="*/ 0 w 96"/>
                <a:gd name="T61" fmla="*/ 66 h 90"/>
                <a:gd name="T62" fmla="*/ 6 w 96"/>
                <a:gd name="T63" fmla="*/ 60 h 90"/>
                <a:gd name="T64" fmla="*/ 12 w 96"/>
                <a:gd name="T65" fmla="*/ 54 h 90"/>
                <a:gd name="T66" fmla="*/ 12 w 96"/>
                <a:gd name="T67" fmla="*/ 42 h 90"/>
                <a:gd name="T68" fmla="*/ 18 w 96"/>
                <a:gd name="T69" fmla="*/ 36 h 90"/>
                <a:gd name="T70" fmla="*/ 18 w 96"/>
                <a:gd name="T71" fmla="*/ 24 h 90"/>
                <a:gd name="T72" fmla="*/ 30 w 96"/>
                <a:gd name="T73" fmla="*/ 24 h 90"/>
                <a:gd name="T74" fmla="*/ 36 w 96"/>
                <a:gd name="T75" fmla="*/ 18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6"/>
                <a:gd name="T115" fmla="*/ 0 h 90"/>
                <a:gd name="T116" fmla="*/ 96 w 96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61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4477" y="3207"/>
              <a:ext cx="21" cy="26"/>
            </a:xfrm>
            <a:custGeom>
              <a:avLst/>
              <a:gdLst>
                <a:gd name="T0" fmla="*/ 12 w 24"/>
                <a:gd name="T1" fmla="*/ 0 h 30"/>
                <a:gd name="T2" fmla="*/ 18 w 24"/>
                <a:gd name="T3" fmla="*/ 0 h 30"/>
                <a:gd name="T4" fmla="*/ 18 w 24"/>
                <a:gd name="T5" fmla="*/ 6 h 30"/>
                <a:gd name="T6" fmla="*/ 24 w 24"/>
                <a:gd name="T7" fmla="*/ 6 h 30"/>
                <a:gd name="T8" fmla="*/ 24 w 24"/>
                <a:gd name="T9" fmla="*/ 12 h 30"/>
                <a:gd name="T10" fmla="*/ 24 w 24"/>
                <a:gd name="T11" fmla="*/ 6 h 30"/>
                <a:gd name="T12" fmla="*/ 24 w 24"/>
                <a:gd name="T13" fmla="*/ 12 h 30"/>
                <a:gd name="T14" fmla="*/ 24 w 24"/>
                <a:gd name="T15" fmla="*/ 18 h 30"/>
                <a:gd name="T16" fmla="*/ 18 w 24"/>
                <a:gd name="T17" fmla="*/ 18 h 30"/>
                <a:gd name="T18" fmla="*/ 18 w 24"/>
                <a:gd name="T19" fmla="*/ 24 h 30"/>
                <a:gd name="T20" fmla="*/ 12 w 24"/>
                <a:gd name="T21" fmla="*/ 24 h 30"/>
                <a:gd name="T22" fmla="*/ 12 w 24"/>
                <a:gd name="T23" fmla="*/ 30 h 30"/>
                <a:gd name="T24" fmla="*/ 6 w 24"/>
                <a:gd name="T25" fmla="*/ 24 h 30"/>
                <a:gd name="T26" fmla="*/ 0 w 24"/>
                <a:gd name="T27" fmla="*/ 24 h 30"/>
                <a:gd name="T28" fmla="*/ 6 w 24"/>
                <a:gd name="T29" fmla="*/ 24 h 30"/>
                <a:gd name="T30" fmla="*/ 0 w 24"/>
                <a:gd name="T31" fmla="*/ 18 h 30"/>
                <a:gd name="T32" fmla="*/ 6 w 24"/>
                <a:gd name="T33" fmla="*/ 18 h 30"/>
                <a:gd name="T34" fmla="*/ 0 w 24"/>
                <a:gd name="T35" fmla="*/ 18 h 30"/>
                <a:gd name="T36" fmla="*/ 6 w 24"/>
                <a:gd name="T37" fmla="*/ 18 h 30"/>
                <a:gd name="T38" fmla="*/ 0 w 24"/>
                <a:gd name="T39" fmla="*/ 18 h 30"/>
                <a:gd name="T40" fmla="*/ 6 w 24"/>
                <a:gd name="T41" fmla="*/ 18 h 30"/>
                <a:gd name="T42" fmla="*/ 0 w 24"/>
                <a:gd name="T43" fmla="*/ 18 h 30"/>
                <a:gd name="T44" fmla="*/ 6 w 24"/>
                <a:gd name="T45" fmla="*/ 12 h 30"/>
                <a:gd name="T46" fmla="*/ 12 w 24"/>
                <a:gd name="T47" fmla="*/ 6 h 30"/>
                <a:gd name="T48" fmla="*/ 12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0"/>
                <a:gd name="T77" fmla="*/ 24 w 24"/>
                <a:gd name="T78" fmla="*/ 30 h 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62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4391" y="3243"/>
              <a:ext cx="25" cy="25"/>
            </a:xfrm>
            <a:custGeom>
              <a:avLst/>
              <a:gdLst>
                <a:gd name="T0" fmla="*/ 0 w 30"/>
                <a:gd name="T1" fmla="*/ 6 h 30"/>
                <a:gd name="T2" fmla="*/ 6 w 30"/>
                <a:gd name="T3" fmla="*/ 6 h 30"/>
                <a:gd name="T4" fmla="*/ 6 w 30"/>
                <a:gd name="T5" fmla="*/ 0 h 30"/>
                <a:gd name="T6" fmla="*/ 12 w 30"/>
                <a:gd name="T7" fmla="*/ 0 h 30"/>
                <a:gd name="T8" fmla="*/ 18 w 30"/>
                <a:gd name="T9" fmla="*/ 0 h 30"/>
                <a:gd name="T10" fmla="*/ 18 w 30"/>
                <a:gd name="T11" fmla="*/ 6 h 30"/>
                <a:gd name="T12" fmla="*/ 24 w 30"/>
                <a:gd name="T13" fmla="*/ 6 h 30"/>
                <a:gd name="T14" fmla="*/ 24 w 30"/>
                <a:gd name="T15" fmla="*/ 12 h 30"/>
                <a:gd name="T16" fmla="*/ 30 w 30"/>
                <a:gd name="T17" fmla="*/ 18 h 30"/>
                <a:gd name="T18" fmla="*/ 30 w 30"/>
                <a:gd name="T19" fmla="*/ 24 h 30"/>
                <a:gd name="T20" fmla="*/ 24 w 30"/>
                <a:gd name="T21" fmla="*/ 24 h 30"/>
                <a:gd name="T22" fmla="*/ 18 w 30"/>
                <a:gd name="T23" fmla="*/ 30 h 30"/>
                <a:gd name="T24" fmla="*/ 18 w 30"/>
                <a:gd name="T25" fmla="*/ 24 h 30"/>
                <a:gd name="T26" fmla="*/ 18 w 30"/>
                <a:gd name="T27" fmla="*/ 30 h 30"/>
                <a:gd name="T28" fmla="*/ 18 w 30"/>
                <a:gd name="T29" fmla="*/ 24 h 30"/>
                <a:gd name="T30" fmla="*/ 12 w 30"/>
                <a:gd name="T31" fmla="*/ 24 h 30"/>
                <a:gd name="T32" fmla="*/ 6 w 30"/>
                <a:gd name="T33" fmla="*/ 24 h 30"/>
                <a:gd name="T34" fmla="*/ 6 w 30"/>
                <a:gd name="T35" fmla="*/ 18 h 30"/>
                <a:gd name="T36" fmla="*/ 0 w 30"/>
                <a:gd name="T37" fmla="*/ 18 h 30"/>
                <a:gd name="T38" fmla="*/ 0 w 30"/>
                <a:gd name="T39" fmla="*/ 12 h 30"/>
                <a:gd name="T40" fmla="*/ 0 w 30"/>
                <a:gd name="T41" fmla="*/ 6 h 30"/>
                <a:gd name="T42" fmla="*/ 6 w 30"/>
                <a:gd name="T43" fmla="*/ 6 h 30"/>
                <a:gd name="T44" fmla="*/ 0 w 30"/>
                <a:gd name="T45" fmla="*/ 6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30"/>
                <a:gd name="T71" fmla="*/ 30 w 30"/>
                <a:gd name="T72" fmla="*/ 30 h 3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5" name="Group 63"/>
            <p:cNvGrpSpPr>
              <a:grpSpLocks/>
            </p:cNvGrpSpPr>
            <p:nvPr/>
          </p:nvGrpSpPr>
          <p:grpSpPr bwMode="auto">
            <a:xfrm>
              <a:off x="4396" y="2524"/>
              <a:ext cx="40" cy="143"/>
              <a:chOff x="4396" y="2524"/>
              <a:chExt cx="40" cy="143"/>
            </a:xfrm>
            <a:grpFill/>
          </p:grpSpPr>
          <p:sp>
            <p:nvSpPr>
              <p:cNvPr id="157" name="Freeform 64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0 w 6"/>
                  <a:gd name="T5" fmla="*/ 6 h 12"/>
                  <a:gd name="T6" fmla="*/ 6 w 6"/>
                  <a:gd name="T7" fmla="*/ 0 h 12"/>
                  <a:gd name="T8" fmla="*/ 6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8" name="Freeform 65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6 w 6"/>
                  <a:gd name="T2" fmla="*/ 0 w 6"/>
                  <a:gd name="T3" fmla="*/ 0 60000 65536"/>
                  <a:gd name="T4" fmla="*/ 0 60000 65536"/>
                  <a:gd name="T5" fmla="*/ 0 60000 65536"/>
                  <a:gd name="T6" fmla="*/ 0 w 6"/>
                  <a:gd name="T7" fmla="*/ 6 w 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9" name="Freeform 66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0" name="Freeform 67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1" name="Freeform 68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2" name="Freeform 69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3" name="Freeform 70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46" name="Group 71"/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989" y="1637"/>
              <a:ext cx="113" cy="102"/>
              <a:chOff x="989" y="1637"/>
              <a:chExt cx="113" cy="102"/>
            </a:xfrm>
            <a:grpFill/>
          </p:grpSpPr>
          <p:sp>
            <p:nvSpPr>
              <p:cNvPr id="147" name="Freeform 72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56" y="1718"/>
                <a:ext cx="15" cy="16"/>
              </a:xfrm>
              <a:custGeom>
                <a:avLst/>
                <a:gdLst>
                  <a:gd name="T0" fmla="*/ 0 w 18"/>
                  <a:gd name="T1" fmla="*/ 12 h 18"/>
                  <a:gd name="T2" fmla="*/ 0 w 18"/>
                  <a:gd name="T3" fmla="*/ 6 h 18"/>
                  <a:gd name="T4" fmla="*/ 0 w 18"/>
                  <a:gd name="T5" fmla="*/ 0 h 18"/>
                  <a:gd name="T6" fmla="*/ 6 w 18"/>
                  <a:gd name="T7" fmla="*/ 0 h 18"/>
                  <a:gd name="T8" fmla="*/ 0 w 18"/>
                  <a:gd name="T9" fmla="*/ 0 h 18"/>
                  <a:gd name="T10" fmla="*/ 6 w 18"/>
                  <a:gd name="T11" fmla="*/ 0 h 18"/>
                  <a:gd name="T12" fmla="*/ 6 w 18"/>
                  <a:gd name="T13" fmla="*/ 6 h 18"/>
                  <a:gd name="T14" fmla="*/ 6 w 18"/>
                  <a:gd name="T15" fmla="*/ 0 h 18"/>
                  <a:gd name="T16" fmla="*/ 6 w 18"/>
                  <a:gd name="T17" fmla="*/ 6 h 18"/>
                  <a:gd name="T18" fmla="*/ 12 w 18"/>
                  <a:gd name="T19" fmla="*/ 6 h 18"/>
                  <a:gd name="T20" fmla="*/ 12 w 18"/>
                  <a:gd name="T21" fmla="*/ 12 h 18"/>
                  <a:gd name="T22" fmla="*/ 18 w 18"/>
                  <a:gd name="T23" fmla="*/ 12 h 18"/>
                  <a:gd name="T24" fmla="*/ 12 w 18"/>
                  <a:gd name="T25" fmla="*/ 12 h 18"/>
                  <a:gd name="T26" fmla="*/ 18 w 18"/>
                  <a:gd name="T27" fmla="*/ 12 h 18"/>
                  <a:gd name="T28" fmla="*/ 18 w 18"/>
                  <a:gd name="T29" fmla="*/ 18 h 18"/>
                  <a:gd name="T30" fmla="*/ 12 w 18"/>
                  <a:gd name="T31" fmla="*/ 12 h 18"/>
                  <a:gd name="T32" fmla="*/ 12 w 18"/>
                  <a:gd name="T33" fmla="*/ 18 h 18"/>
                  <a:gd name="T34" fmla="*/ 6 w 18"/>
                  <a:gd name="T35" fmla="*/ 18 h 18"/>
                  <a:gd name="T36" fmla="*/ 0 w 18"/>
                  <a:gd name="T37" fmla="*/ 18 h 18"/>
                  <a:gd name="T38" fmla="*/ 0 w 18"/>
                  <a:gd name="T39" fmla="*/ 12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18"/>
                  <a:gd name="T62" fmla="*/ 18 w 18"/>
                  <a:gd name="T63" fmla="*/ 18 h 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18">
                    <a:moveTo>
                      <a:pt x="0" y="1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8" name="Freeform 73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00" y="1647"/>
                <a:ext cx="10" cy="10"/>
              </a:xfrm>
              <a:custGeom>
                <a:avLst/>
                <a:gdLst>
                  <a:gd name="T0" fmla="*/ 6 w 12"/>
                  <a:gd name="T1" fmla="*/ 6 h 12"/>
                  <a:gd name="T2" fmla="*/ 6 w 12"/>
                  <a:gd name="T3" fmla="*/ 0 h 12"/>
                  <a:gd name="T4" fmla="*/ 6 w 12"/>
                  <a:gd name="T5" fmla="*/ 6 h 12"/>
                  <a:gd name="T6" fmla="*/ 6 w 12"/>
                  <a:gd name="T7" fmla="*/ 0 h 12"/>
                  <a:gd name="T8" fmla="*/ 6 w 12"/>
                  <a:gd name="T9" fmla="*/ 6 h 12"/>
                  <a:gd name="T10" fmla="*/ 12 w 12"/>
                  <a:gd name="T11" fmla="*/ 6 h 12"/>
                  <a:gd name="T12" fmla="*/ 6 w 12"/>
                  <a:gd name="T13" fmla="*/ 6 h 12"/>
                  <a:gd name="T14" fmla="*/ 6 w 12"/>
                  <a:gd name="T15" fmla="*/ 12 h 12"/>
                  <a:gd name="T16" fmla="*/ 0 w 12"/>
                  <a:gd name="T17" fmla="*/ 12 h 12"/>
                  <a:gd name="T18" fmla="*/ 0 w 12"/>
                  <a:gd name="T19" fmla="*/ 6 h 12"/>
                  <a:gd name="T20" fmla="*/ 6 w 12"/>
                  <a:gd name="T21" fmla="*/ 6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12"/>
                  <a:gd name="T35" fmla="*/ 12 w 12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12">
                    <a:moveTo>
                      <a:pt x="6" y="6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9" name="Rectangle 74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76" y="1718"/>
                <a:ext cx="5" cy="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0" name="Freeform 75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10" y="1652"/>
                <a:ext cx="5" cy="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6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1" name="Freeform 76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989" y="1637"/>
                <a:ext cx="16" cy="15"/>
              </a:xfrm>
              <a:custGeom>
                <a:avLst/>
                <a:gdLst>
                  <a:gd name="T0" fmla="*/ 18 w 18"/>
                  <a:gd name="T1" fmla="*/ 6 h 18"/>
                  <a:gd name="T2" fmla="*/ 12 w 18"/>
                  <a:gd name="T3" fmla="*/ 12 h 18"/>
                  <a:gd name="T4" fmla="*/ 6 w 18"/>
                  <a:gd name="T5" fmla="*/ 12 h 18"/>
                  <a:gd name="T6" fmla="*/ 6 w 18"/>
                  <a:gd name="T7" fmla="*/ 18 h 18"/>
                  <a:gd name="T8" fmla="*/ 6 w 18"/>
                  <a:gd name="T9" fmla="*/ 12 h 18"/>
                  <a:gd name="T10" fmla="*/ 6 w 18"/>
                  <a:gd name="T11" fmla="*/ 18 h 18"/>
                  <a:gd name="T12" fmla="*/ 6 w 18"/>
                  <a:gd name="T13" fmla="*/ 12 h 18"/>
                  <a:gd name="T14" fmla="*/ 0 w 18"/>
                  <a:gd name="T15" fmla="*/ 18 h 18"/>
                  <a:gd name="T16" fmla="*/ 0 w 18"/>
                  <a:gd name="T17" fmla="*/ 12 h 18"/>
                  <a:gd name="T18" fmla="*/ 0 w 18"/>
                  <a:gd name="T19" fmla="*/ 6 h 18"/>
                  <a:gd name="T20" fmla="*/ 6 w 18"/>
                  <a:gd name="T21" fmla="*/ 6 h 18"/>
                  <a:gd name="T22" fmla="*/ 6 w 18"/>
                  <a:gd name="T23" fmla="*/ 0 h 18"/>
                  <a:gd name="T24" fmla="*/ 12 w 18"/>
                  <a:gd name="T25" fmla="*/ 0 h 18"/>
                  <a:gd name="T26" fmla="*/ 12 w 18"/>
                  <a:gd name="T27" fmla="*/ 6 h 18"/>
                  <a:gd name="T28" fmla="*/ 18 w 18"/>
                  <a:gd name="T29" fmla="*/ 6 h 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8"/>
                  <a:gd name="T46" fmla="*/ 0 h 18"/>
                  <a:gd name="T47" fmla="*/ 18 w 18"/>
                  <a:gd name="T48" fmla="*/ 18 h 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8" h="1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2" name="Freeform 77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5" y="1734"/>
                <a:ext cx="0" cy="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3" name="Freeform 78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5" y="1657"/>
                <a:ext cx="20" cy="10"/>
              </a:xfrm>
              <a:custGeom>
                <a:avLst/>
                <a:gdLst>
                  <a:gd name="T0" fmla="*/ 6 w 24"/>
                  <a:gd name="T1" fmla="*/ 6 h 12"/>
                  <a:gd name="T2" fmla="*/ 12 w 24"/>
                  <a:gd name="T3" fmla="*/ 6 h 12"/>
                  <a:gd name="T4" fmla="*/ 18 w 24"/>
                  <a:gd name="T5" fmla="*/ 6 h 12"/>
                  <a:gd name="T6" fmla="*/ 24 w 24"/>
                  <a:gd name="T7" fmla="*/ 6 h 12"/>
                  <a:gd name="T8" fmla="*/ 24 w 24"/>
                  <a:gd name="T9" fmla="*/ 12 h 12"/>
                  <a:gd name="T10" fmla="*/ 18 w 24"/>
                  <a:gd name="T11" fmla="*/ 6 h 12"/>
                  <a:gd name="T12" fmla="*/ 18 w 24"/>
                  <a:gd name="T13" fmla="*/ 12 h 12"/>
                  <a:gd name="T14" fmla="*/ 18 w 24"/>
                  <a:gd name="T15" fmla="*/ 6 h 12"/>
                  <a:gd name="T16" fmla="*/ 12 w 24"/>
                  <a:gd name="T17" fmla="*/ 6 h 12"/>
                  <a:gd name="T18" fmla="*/ 12 w 24"/>
                  <a:gd name="T19" fmla="*/ 12 h 12"/>
                  <a:gd name="T20" fmla="*/ 6 w 24"/>
                  <a:gd name="T21" fmla="*/ 12 h 12"/>
                  <a:gd name="T22" fmla="*/ 6 w 24"/>
                  <a:gd name="T23" fmla="*/ 6 h 12"/>
                  <a:gd name="T24" fmla="*/ 0 w 24"/>
                  <a:gd name="T25" fmla="*/ 6 h 12"/>
                  <a:gd name="T26" fmla="*/ 6 w 24"/>
                  <a:gd name="T27" fmla="*/ 6 h 12"/>
                  <a:gd name="T28" fmla="*/ 6 w 24"/>
                  <a:gd name="T29" fmla="*/ 0 h 12"/>
                  <a:gd name="T30" fmla="*/ 6 w 24"/>
                  <a:gd name="T31" fmla="*/ 6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12"/>
                  <a:gd name="T50" fmla="*/ 24 w 24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12">
                    <a:moveTo>
                      <a:pt x="6" y="6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4" name="Freeform 79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86" y="1652"/>
                <a:ext cx="5" cy="10"/>
              </a:xfrm>
              <a:custGeom>
                <a:avLst/>
                <a:gdLst>
                  <a:gd name="T0" fmla="*/ 6 w 6"/>
                  <a:gd name="T1" fmla="*/ 0 h 12"/>
                  <a:gd name="T2" fmla="*/ 6 w 6"/>
                  <a:gd name="T3" fmla="*/ 6 h 12"/>
                  <a:gd name="T4" fmla="*/ 6 w 6"/>
                  <a:gd name="T5" fmla="*/ 12 h 12"/>
                  <a:gd name="T6" fmla="*/ 6 w 6"/>
                  <a:gd name="T7" fmla="*/ 6 h 12"/>
                  <a:gd name="T8" fmla="*/ 0 w 6"/>
                  <a:gd name="T9" fmla="*/ 6 h 12"/>
                  <a:gd name="T10" fmla="*/ 0 w 6"/>
                  <a:gd name="T11" fmla="*/ 0 h 12"/>
                  <a:gd name="T12" fmla="*/ 6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2"/>
                  <a:gd name="T23" fmla="*/ 6 w 6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2">
                    <a:moveTo>
                      <a:pt x="6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" name="Freeform 80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25" y="1728"/>
                <a:ext cx="10" cy="11"/>
              </a:xfrm>
              <a:custGeom>
                <a:avLst/>
                <a:gdLst>
                  <a:gd name="T0" fmla="*/ 0 w 12"/>
                  <a:gd name="T1" fmla="*/ 0 h 12"/>
                  <a:gd name="T2" fmla="*/ 6 w 12"/>
                  <a:gd name="T3" fmla="*/ 0 h 12"/>
                  <a:gd name="T4" fmla="*/ 6 w 12"/>
                  <a:gd name="T5" fmla="*/ 6 h 12"/>
                  <a:gd name="T6" fmla="*/ 12 w 12"/>
                  <a:gd name="T7" fmla="*/ 6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2"/>
                  <a:gd name="T26" fmla="*/ 12 w 1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2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" name="Freeform 81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91" y="1677"/>
                <a:ext cx="11" cy="11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2"/>
                  <a:gd name="T29" fmla="*/ 12 w 12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5125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8802" y="-2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8964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COTE D’IVOIR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grpSp>
        <p:nvGrpSpPr>
          <p:cNvPr id="92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411760" y="1613050"/>
            <a:ext cx="5142021" cy="4840291"/>
            <a:chOff x="989" y="785"/>
            <a:chExt cx="3509" cy="3049"/>
          </a:xfrm>
          <a:solidFill>
            <a:schemeClr val="accent1"/>
          </a:solidFill>
        </p:grpSpPr>
        <p:sp>
          <p:nvSpPr>
            <p:cNvPr id="93" name="Freeform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1540" y="1310"/>
              <a:ext cx="699" cy="622"/>
            </a:xfrm>
            <a:custGeom>
              <a:avLst/>
              <a:gdLst>
                <a:gd name="T0" fmla="*/ 24 w 822"/>
                <a:gd name="T1" fmla="*/ 492 h 732"/>
                <a:gd name="T2" fmla="*/ 36 w 822"/>
                <a:gd name="T3" fmla="*/ 462 h 732"/>
                <a:gd name="T4" fmla="*/ 66 w 822"/>
                <a:gd name="T5" fmla="*/ 486 h 732"/>
                <a:gd name="T6" fmla="*/ 84 w 822"/>
                <a:gd name="T7" fmla="*/ 474 h 732"/>
                <a:gd name="T8" fmla="*/ 126 w 822"/>
                <a:gd name="T9" fmla="*/ 474 h 732"/>
                <a:gd name="T10" fmla="*/ 192 w 822"/>
                <a:gd name="T11" fmla="*/ 468 h 732"/>
                <a:gd name="T12" fmla="*/ 312 w 822"/>
                <a:gd name="T13" fmla="*/ 468 h 732"/>
                <a:gd name="T14" fmla="*/ 324 w 822"/>
                <a:gd name="T15" fmla="*/ 354 h 732"/>
                <a:gd name="T16" fmla="*/ 312 w 822"/>
                <a:gd name="T17" fmla="*/ 228 h 732"/>
                <a:gd name="T18" fmla="*/ 294 w 822"/>
                <a:gd name="T19" fmla="*/ 78 h 732"/>
                <a:gd name="T20" fmla="*/ 414 w 822"/>
                <a:gd name="T21" fmla="*/ 24 h 732"/>
                <a:gd name="T22" fmla="*/ 612 w 822"/>
                <a:gd name="T23" fmla="*/ 156 h 732"/>
                <a:gd name="T24" fmla="*/ 690 w 822"/>
                <a:gd name="T25" fmla="*/ 216 h 732"/>
                <a:gd name="T26" fmla="*/ 702 w 822"/>
                <a:gd name="T27" fmla="*/ 234 h 732"/>
                <a:gd name="T28" fmla="*/ 732 w 822"/>
                <a:gd name="T29" fmla="*/ 240 h 732"/>
                <a:gd name="T30" fmla="*/ 768 w 822"/>
                <a:gd name="T31" fmla="*/ 252 h 732"/>
                <a:gd name="T32" fmla="*/ 768 w 822"/>
                <a:gd name="T33" fmla="*/ 276 h 732"/>
                <a:gd name="T34" fmla="*/ 822 w 822"/>
                <a:gd name="T35" fmla="*/ 288 h 732"/>
                <a:gd name="T36" fmla="*/ 804 w 822"/>
                <a:gd name="T37" fmla="*/ 456 h 732"/>
                <a:gd name="T38" fmla="*/ 786 w 822"/>
                <a:gd name="T39" fmla="*/ 480 h 732"/>
                <a:gd name="T40" fmla="*/ 648 w 822"/>
                <a:gd name="T41" fmla="*/ 498 h 732"/>
                <a:gd name="T42" fmla="*/ 618 w 822"/>
                <a:gd name="T43" fmla="*/ 498 h 732"/>
                <a:gd name="T44" fmla="*/ 558 w 822"/>
                <a:gd name="T45" fmla="*/ 504 h 732"/>
                <a:gd name="T46" fmla="*/ 504 w 822"/>
                <a:gd name="T47" fmla="*/ 534 h 732"/>
                <a:gd name="T48" fmla="*/ 468 w 822"/>
                <a:gd name="T49" fmla="*/ 558 h 732"/>
                <a:gd name="T50" fmla="*/ 450 w 822"/>
                <a:gd name="T51" fmla="*/ 558 h 732"/>
                <a:gd name="T52" fmla="*/ 438 w 822"/>
                <a:gd name="T53" fmla="*/ 588 h 732"/>
                <a:gd name="T54" fmla="*/ 408 w 822"/>
                <a:gd name="T55" fmla="*/ 576 h 732"/>
                <a:gd name="T56" fmla="*/ 396 w 822"/>
                <a:gd name="T57" fmla="*/ 594 h 732"/>
                <a:gd name="T58" fmla="*/ 384 w 822"/>
                <a:gd name="T59" fmla="*/ 612 h 732"/>
                <a:gd name="T60" fmla="*/ 378 w 822"/>
                <a:gd name="T61" fmla="*/ 636 h 732"/>
                <a:gd name="T62" fmla="*/ 348 w 822"/>
                <a:gd name="T63" fmla="*/ 648 h 732"/>
                <a:gd name="T64" fmla="*/ 348 w 822"/>
                <a:gd name="T65" fmla="*/ 660 h 732"/>
                <a:gd name="T66" fmla="*/ 348 w 822"/>
                <a:gd name="T67" fmla="*/ 672 h 732"/>
                <a:gd name="T68" fmla="*/ 342 w 822"/>
                <a:gd name="T69" fmla="*/ 702 h 732"/>
                <a:gd name="T70" fmla="*/ 318 w 822"/>
                <a:gd name="T71" fmla="*/ 720 h 732"/>
                <a:gd name="T72" fmla="*/ 306 w 822"/>
                <a:gd name="T73" fmla="*/ 726 h 732"/>
                <a:gd name="T74" fmla="*/ 300 w 822"/>
                <a:gd name="T75" fmla="*/ 714 h 732"/>
                <a:gd name="T76" fmla="*/ 294 w 822"/>
                <a:gd name="T77" fmla="*/ 714 h 732"/>
                <a:gd name="T78" fmla="*/ 282 w 822"/>
                <a:gd name="T79" fmla="*/ 720 h 732"/>
                <a:gd name="T80" fmla="*/ 246 w 822"/>
                <a:gd name="T81" fmla="*/ 732 h 732"/>
                <a:gd name="T82" fmla="*/ 228 w 822"/>
                <a:gd name="T83" fmla="*/ 720 h 732"/>
                <a:gd name="T84" fmla="*/ 204 w 822"/>
                <a:gd name="T85" fmla="*/ 726 h 732"/>
                <a:gd name="T86" fmla="*/ 198 w 822"/>
                <a:gd name="T87" fmla="*/ 690 h 732"/>
                <a:gd name="T88" fmla="*/ 186 w 822"/>
                <a:gd name="T89" fmla="*/ 684 h 732"/>
                <a:gd name="T90" fmla="*/ 180 w 822"/>
                <a:gd name="T91" fmla="*/ 660 h 732"/>
                <a:gd name="T92" fmla="*/ 168 w 822"/>
                <a:gd name="T93" fmla="*/ 636 h 732"/>
                <a:gd name="T94" fmla="*/ 144 w 822"/>
                <a:gd name="T95" fmla="*/ 618 h 732"/>
                <a:gd name="T96" fmla="*/ 138 w 822"/>
                <a:gd name="T97" fmla="*/ 630 h 732"/>
                <a:gd name="T98" fmla="*/ 120 w 822"/>
                <a:gd name="T99" fmla="*/ 636 h 732"/>
                <a:gd name="T100" fmla="*/ 96 w 822"/>
                <a:gd name="T101" fmla="*/ 636 h 732"/>
                <a:gd name="T102" fmla="*/ 72 w 822"/>
                <a:gd name="T103" fmla="*/ 642 h 732"/>
                <a:gd name="T104" fmla="*/ 54 w 822"/>
                <a:gd name="T105" fmla="*/ 636 h 732"/>
                <a:gd name="T106" fmla="*/ 42 w 822"/>
                <a:gd name="T107" fmla="*/ 624 h 732"/>
                <a:gd name="T108" fmla="*/ 42 w 822"/>
                <a:gd name="T109" fmla="*/ 594 h 732"/>
                <a:gd name="T110" fmla="*/ 18 w 822"/>
                <a:gd name="T111" fmla="*/ 576 h 732"/>
                <a:gd name="T112" fmla="*/ 12 w 822"/>
                <a:gd name="T113" fmla="*/ 540 h 732"/>
                <a:gd name="T114" fmla="*/ 6 w 822"/>
                <a:gd name="T115" fmla="*/ 516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22"/>
                <a:gd name="T175" fmla="*/ 0 h 732"/>
                <a:gd name="T176" fmla="*/ 822 w 822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22" h="732">
                  <a:moveTo>
                    <a:pt x="0" y="504"/>
                  </a:moveTo>
                  <a:lnTo>
                    <a:pt x="6" y="504"/>
                  </a:lnTo>
                  <a:lnTo>
                    <a:pt x="12" y="510"/>
                  </a:lnTo>
                  <a:lnTo>
                    <a:pt x="12" y="504"/>
                  </a:lnTo>
                  <a:lnTo>
                    <a:pt x="18" y="504"/>
                  </a:lnTo>
                  <a:lnTo>
                    <a:pt x="24" y="498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6" y="468"/>
                  </a:lnTo>
                  <a:lnTo>
                    <a:pt x="36" y="462"/>
                  </a:lnTo>
                  <a:lnTo>
                    <a:pt x="42" y="462"/>
                  </a:lnTo>
                  <a:lnTo>
                    <a:pt x="48" y="468"/>
                  </a:lnTo>
                  <a:lnTo>
                    <a:pt x="48" y="474"/>
                  </a:lnTo>
                  <a:lnTo>
                    <a:pt x="54" y="474"/>
                  </a:lnTo>
                  <a:lnTo>
                    <a:pt x="60" y="480"/>
                  </a:lnTo>
                  <a:lnTo>
                    <a:pt x="66" y="480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72" y="486"/>
                  </a:lnTo>
                  <a:lnTo>
                    <a:pt x="72" y="480"/>
                  </a:lnTo>
                  <a:lnTo>
                    <a:pt x="78" y="480"/>
                  </a:lnTo>
                  <a:lnTo>
                    <a:pt x="78" y="474"/>
                  </a:lnTo>
                  <a:lnTo>
                    <a:pt x="84" y="474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74"/>
                  </a:lnTo>
                  <a:lnTo>
                    <a:pt x="108" y="474"/>
                  </a:lnTo>
                  <a:lnTo>
                    <a:pt x="114" y="474"/>
                  </a:lnTo>
                  <a:lnTo>
                    <a:pt x="120" y="474"/>
                  </a:lnTo>
                  <a:lnTo>
                    <a:pt x="126" y="474"/>
                  </a:lnTo>
                  <a:lnTo>
                    <a:pt x="144" y="474"/>
                  </a:lnTo>
                  <a:lnTo>
                    <a:pt x="138" y="462"/>
                  </a:lnTo>
                  <a:lnTo>
                    <a:pt x="144" y="462"/>
                  </a:lnTo>
                  <a:lnTo>
                    <a:pt x="150" y="462"/>
                  </a:lnTo>
                  <a:lnTo>
                    <a:pt x="144" y="468"/>
                  </a:lnTo>
                  <a:lnTo>
                    <a:pt x="180" y="468"/>
                  </a:lnTo>
                  <a:lnTo>
                    <a:pt x="192" y="468"/>
                  </a:lnTo>
                  <a:lnTo>
                    <a:pt x="198" y="468"/>
                  </a:lnTo>
                  <a:lnTo>
                    <a:pt x="216" y="468"/>
                  </a:lnTo>
                  <a:lnTo>
                    <a:pt x="228" y="468"/>
                  </a:lnTo>
                  <a:lnTo>
                    <a:pt x="252" y="468"/>
                  </a:lnTo>
                  <a:lnTo>
                    <a:pt x="258" y="468"/>
                  </a:lnTo>
                  <a:lnTo>
                    <a:pt x="276" y="468"/>
                  </a:lnTo>
                  <a:lnTo>
                    <a:pt x="312" y="468"/>
                  </a:lnTo>
                  <a:lnTo>
                    <a:pt x="330" y="468"/>
                  </a:lnTo>
                  <a:lnTo>
                    <a:pt x="336" y="468"/>
                  </a:lnTo>
                  <a:lnTo>
                    <a:pt x="348" y="426"/>
                  </a:lnTo>
                  <a:lnTo>
                    <a:pt x="330" y="420"/>
                  </a:lnTo>
                  <a:lnTo>
                    <a:pt x="330" y="396"/>
                  </a:lnTo>
                  <a:lnTo>
                    <a:pt x="324" y="372"/>
                  </a:lnTo>
                  <a:lnTo>
                    <a:pt x="324" y="354"/>
                  </a:lnTo>
                  <a:lnTo>
                    <a:pt x="324" y="348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28"/>
                  </a:lnTo>
                  <a:lnTo>
                    <a:pt x="306" y="192"/>
                  </a:lnTo>
                  <a:lnTo>
                    <a:pt x="300" y="138"/>
                  </a:lnTo>
                  <a:lnTo>
                    <a:pt x="300" y="114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294" y="78"/>
                  </a:lnTo>
                  <a:lnTo>
                    <a:pt x="294" y="66"/>
                  </a:lnTo>
                  <a:lnTo>
                    <a:pt x="288" y="48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360" y="0"/>
                  </a:lnTo>
                  <a:lnTo>
                    <a:pt x="372" y="0"/>
                  </a:lnTo>
                  <a:lnTo>
                    <a:pt x="414" y="24"/>
                  </a:lnTo>
                  <a:lnTo>
                    <a:pt x="438" y="36"/>
                  </a:lnTo>
                  <a:lnTo>
                    <a:pt x="444" y="48"/>
                  </a:lnTo>
                  <a:lnTo>
                    <a:pt x="462" y="54"/>
                  </a:lnTo>
                  <a:lnTo>
                    <a:pt x="528" y="96"/>
                  </a:lnTo>
                  <a:lnTo>
                    <a:pt x="600" y="144"/>
                  </a:lnTo>
                  <a:lnTo>
                    <a:pt x="612" y="150"/>
                  </a:lnTo>
                  <a:lnTo>
                    <a:pt x="612" y="156"/>
                  </a:lnTo>
                  <a:lnTo>
                    <a:pt x="666" y="192"/>
                  </a:lnTo>
                  <a:lnTo>
                    <a:pt x="666" y="198"/>
                  </a:lnTo>
                  <a:lnTo>
                    <a:pt x="666" y="210"/>
                  </a:lnTo>
                  <a:lnTo>
                    <a:pt x="672" y="210"/>
                  </a:lnTo>
                  <a:lnTo>
                    <a:pt x="678" y="210"/>
                  </a:lnTo>
                  <a:lnTo>
                    <a:pt x="684" y="216"/>
                  </a:lnTo>
                  <a:lnTo>
                    <a:pt x="690" y="216"/>
                  </a:lnTo>
                  <a:lnTo>
                    <a:pt x="690" y="222"/>
                  </a:lnTo>
                  <a:lnTo>
                    <a:pt x="690" y="228"/>
                  </a:lnTo>
                  <a:lnTo>
                    <a:pt x="696" y="228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8" y="234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6" y="234"/>
                  </a:lnTo>
                  <a:lnTo>
                    <a:pt x="726" y="240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38" y="246"/>
                  </a:lnTo>
                  <a:lnTo>
                    <a:pt x="744" y="246"/>
                  </a:lnTo>
                  <a:lnTo>
                    <a:pt x="750" y="246"/>
                  </a:lnTo>
                  <a:lnTo>
                    <a:pt x="756" y="246"/>
                  </a:lnTo>
                  <a:lnTo>
                    <a:pt x="762" y="252"/>
                  </a:lnTo>
                  <a:lnTo>
                    <a:pt x="768" y="252"/>
                  </a:lnTo>
                  <a:lnTo>
                    <a:pt x="768" y="258"/>
                  </a:lnTo>
                  <a:lnTo>
                    <a:pt x="768" y="264"/>
                  </a:lnTo>
                  <a:lnTo>
                    <a:pt x="768" y="270"/>
                  </a:lnTo>
                  <a:lnTo>
                    <a:pt x="774" y="270"/>
                  </a:lnTo>
                  <a:lnTo>
                    <a:pt x="768" y="270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8" y="282"/>
                  </a:lnTo>
                  <a:lnTo>
                    <a:pt x="768" y="288"/>
                  </a:lnTo>
                  <a:lnTo>
                    <a:pt x="762" y="288"/>
                  </a:lnTo>
                  <a:lnTo>
                    <a:pt x="768" y="294"/>
                  </a:lnTo>
                  <a:lnTo>
                    <a:pt x="774" y="294"/>
                  </a:lnTo>
                  <a:lnTo>
                    <a:pt x="774" y="300"/>
                  </a:lnTo>
                  <a:lnTo>
                    <a:pt x="822" y="288"/>
                  </a:lnTo>
                  <a:lnTo>
                    <a:pt x="822" y="396"/>
                  </a:lnTo>
                  <a:lnTo>
                    <a:pt x="810" y="402"/>
                  </a:lnTo>
                  <a:lnTo>
                    <a:pt x="810" y="414"/>
                  </a:lnTo>
                  <a:lnTo>
                    <a:pt x="810" y="426"/>
                  </a:lnTo>
                  <a:lnTo>
                    <a:pt x="810" y="444"/>
                  </a:lnTo>
                  <a:lnTo>
                    <a:pt x="804" y="450"/>
                  </a:lnTo>
                  <a:lnTo>
                    <a:pt x="804" y="456"/>
                  </a:lnTo>
                  <a:lnTo>
                    <a:pt x="804" y="462"/>
                  </a:lnTo>
                  <a:lnTo>
                    <a:pt x="798" y="462"/>
                  </a:lnTo>
                  <a:lnTo>
                    <a:pt x="792" y="462"/>
                  </a:lnTo>
                  <a:lnTo>
                    <a:pt x="792" y="468"/>
                  </a:lnTo>
                  <a:lnTo>
                    <a:pt x="786" y="468"/>
                  </a:lnTo>
                  <a:lnTo>
                    <a:pt x="786" y="474"/>
                  </a:lnTo>
                  <a:lnTo>
                    <a:pt x="786" y="480"/>
                  </a:lnTo>
                  <a:lnTo>
                    <a:pt x="762" y="480"/>
                  </a:lnTo>
                  <a:lnTo>
                    <a:pt x="738" y="474"/>
                  </a:lnTo>
                  <a:lnTo>
                    <a:pt x="702" y="48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98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6" y="492"/>
                  </a:lnTo>
                  <a:lnTo>
                    <a:pt x="630" y="498"/>
                  </a:lnTo>
                  <a:lnTo>
                    <a:pt x="624" y="492"/>
                  </a:lnTo>
                  <a:lnTo>
                    <a:pt x="618" y="492"/>
                  </a:lnTo>
                  <a:lnTo>
                    <a:pt x="618" y="498"/>
                  </a:lnTo>
                  <a:lnTo>
                    <a:pt x="612" y="498"/>
                  </a:lnTo>
                  <a:lnTo>
                    <a:pt x="612" y="492"/>
                  </a:lnTo>
                  <a:lnTo>
                    <a:pt x="600" y="492"/>
                  </a:lnTo>
                  <a:lnTo>
                    <a:pt x="588" y="492"/>
                  </a:lnTo>
                  <a:lnTo>
                    <a:pt x="576" y="492"/>
                  </a:lnTo>
                  <a:lnTo>
                    <a:pt x="564" y="498"/>
                  </a:lnTo>
                  <a:lnTo>
                    <a:pt x="558" y="504"/>
                  </a:lnTo>
                  <a:lnTo>
                    <a:pt x="546" y="510"/>
                  </a:lnTo>
                  <a:lnTo>
                    <a:pt x="528" y="516"/>
                  </a:lnTo>
                  <a:lnTo>
                    <a:pt x="522" y="522"/>
                  </a:lnTo>
                  <a:lnTo>
                    <a:pt x="516" y="522"/>
                  </a:lnTo>
                  <a:lnTo>
                    <a:pt x="510" y="522"/>
                  </a:lnTo>
                  <a:lnTo>
                    <a:pt x="510" y="534"/>
                  </a:lnTo>
                  <a:lnTo>
                    <a:pt x="504" y="534"/>
                  </a:lnTo>
                  <a:lnTo>
                    <a:pt x="498" y="534"/>
                  </a:lnTo>
                  <a:lnTo>
                    <a:pt x="486" y="528"/>
                  </a:lnTo>
                  <a:lnTo>
                    <a:pt x="480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468" y="558"/>
                  </a:lnTo>
                  <a:lnTo>
                    <a:pt x="462" y="564"/>
                  </a:lnTo>
                  <a:lnTo>
                    <a:pt x="462" y="558"/>
                  </a:lnTo>
                  <a:lnTo>
                    <a:pt x="456" y="564"/>
                  </a:lnTo>
                  <a:lnTo>
                    <a:pt x="456" y="558"/>
                  </a:lnTo>
                  <a:lnTo>
                    <a:pt x="450" y="558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44" y="570"/>
                  </a:lnTo>
                  <a:lnTo>
                    <a:pt x="450" y="570"/>
                  </a:lnTo>
                  <a:lnTo>
                    <a:pt x="450" y="576"/>
                  </a:lnTo>
                  <a:lnTo>
                    <a:pt x="450" y="582"/>
                  </a:lnTo>
                  <a:lnTo>
                    <a:pt x="438" y="582"/>
                  </a:lnTo>
                  <a:lnTo>
                    <a:pt x="438" y="58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20" y="576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08" y="570"/>
                  </a:lnTo>
                  <a:lnTo>
                    <a:pt x="408" y="576"/>
                  </a:lnTo>
                  <a:lnTo>
                    <a:pt x="402" y="576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396" y="588"/>
                  </a:lnTo>
                  <a:lnTo>
                    <a:pt x="396" y="594"/>
                  </a:lnTo>
                  <a:lnTo>
                    <a:pt x="402" y="594"/>
                  </a:lnTo>
                  <a:lnTo>
                    <a:pt x="402" y="600"/>
                  </a:lnTo>
                  <a:lnTo>
                    <a:pt x="402" y="606"/>
                  </a:lnTo>
                  <a:lnTo>
                    <a:pt x="396" y="606"/>
                  </a:lnTo>
                  <a:lnTo>
                    <a:pt x="390" y="606"/>
                  </a:lnTo>
                  <a:lnTo>
                    <a:pt x="384" y="606"/>
                  </a:lnTo>
                  <a:lnTo>
                    <a:pt x="384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90" y="624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2" y="654"/>
                  </a:lnTo>
                  <a:lnTo>
                    <a:pt x="348" y="654"/>
                  </a:lnTo>
                  <a:lnTo>
                    <a:pt x="348" y="660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72"/>
                  </a:lnTo>
                  <a:lnTo>
                    <a:pt x="354" y="672"/>
                  </a:lnTo>
                  <a:lnTo>
                    <a:pt x="348" y="672"/>
                  </a:lnTo>
                  <a:lnTo>
                    <a:pt x="348" y="678"/>
                  </a:lnTo>
                  <a:lnTo>
                    <a:pt x="348" y="684"/>
                  </a:lnTo>
                  <a:lnTo>
                    <a:pt x="342" y="684"/>
                  </a:lnTo>
                  <a:lnTo>
                    <a:pt x="342" y="690"/>
                  </a:lnTo>
                  <a:lnTo>
                    <a:pt x="336" y="690"/>
                  </a:lnTo>
                  <a:lnTo>
                    <a:pt x="336" y="696"/>
                  </a:lnTo>
                  <a:lnTo>
                    <a:pt x="342" y="702"/>
                  </a:lnTo>
                  <a:lnTo>
                    <a:pt x="336" y="702"/>
                  </a:lnTo>
                  <a:lnTo>
                    <a:pt x="336" y="708"/>
                  </a:lnTo>
                  <a:lnTo>
                    <a:pt x="336" y="714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18" y="720"/>
                  </a:lnTo>
                  <a:lnTo>
                    <a:pt x="318" y="726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2"/>
                  </a:lnTo>
                  <a:lnTo>
                    <a:pt x="300" y="732"/>
                  </a:lnTo>
                  <a:lnTo>
                    <a:pt x="300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08"/>
                  </a:lnTo>
                  <a:lnTo>
                    <a:pt x="294" y="708"/>
                  </a:lnTo>
                  <a:lnTo>
                    <a:pt x="288" y="708"/>
                  </a:lnTo>
                  <a:lnTo>
                    <a:pt x="288" y="714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2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0" y="726"/>
                  </a:lnTo>
                  <a:lnTo>
                    <a:pt x="240" y="720"/>
                  </a:lnTo>
                  <a:lnTo>
                    <a:pt x="234" y="720"/>
                  </a:lnTo>
                  <a:lnTo>
                    <a:pt x="228" y="720"/>
                  </a:lnTo>
                  <a:lnTo>
                    <a:pt x="228" y="726"/>
                  </a:lnTo>
                  <a:lnTo>
                    <a:pt x="222" y="726"/>
                  </a:lnTo>
                  <a:lnTo>
                    <a:pt x="222" y="732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0" y="726"/>
                  </a:lnTo>
                  <a:lnTo>
                    <a:pt x="204" y="726"/>
                  </a:lnTo>
                  <a:lnTo>
                    <a:pt x="204" y="720"/>
                  </a:lnTo>
                  <a:lnTo>
                    <a:pt x="198" y="720"/>
                  </a:lnTo>
                  <a:lnTo>
                    <a:pt x="198" y="714"/>
                  </a:lnTo>
                  <a:lnTo>
                    <a:pt x="198" y="708"/>
                  </a:lnTo>
                  <a:lnTo>
                    <a:pt x="198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6" y="696"/>
                  </a:lnTo>
                  <a:lnTo>
                    <a:pt x="180" y="696"/>
                  </a:lnTo>
                  <a:lnTo>
                    <a:pt x="180" y="690"/>
                  </a:lnTo>
                  <a:lnTo>
                    <a:pt x="180" y="684"/>
                  </a:lnTo>
                  <a:lnTo>
                    <a:pt x="186" y="684"/>
                  </a:lnTo>
                  <a:lnTo>
                    <a:pt x="186" y="678"/>
                  </a:lnTo>
                  <a:lnTo>
                    <a:pt x="192" y="678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80" y="666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74" y="654"/>
                  </a:lnTo>
                  <a:lnTo>
                    <a:pt x="174" y="648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36"/>
                  </a:lnTo>
                  <a:lnTo>
                    <a:pt x="162" y="636"/>
                  </a:lnTo>
                  <a:lnTo>
                    <a:pt x="162" y="630"/>
                  </a:lnTo>
                  <a:lnTo>
                    <a:pt x="162" y="624"/>
                  </a:lnTo>
                  <a:lnTo>
                    <a:pt x="156" y="624"/>
                  </a:lnTo>
                  <a:lnTo>
                    <a:pt x="156" y="618"/>
                  </a:lnTo>
                  <a:lnTo>
                    <a:pt x="150" y="618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50" y="624"/>
                  </a:lnTo>
                  <a:lnTo>
                    <a:pt x="150" y="630"/>
                  </a:lnTo>
                  <a:lnTo>
                    <a:pt x="144" y="630"/>
                  </a:lnTo>
                  <a:lnTo>
                    <a:pt x="138" y="630"/>
                  </a:lnTo>
                  <a:lnTo>
                    <a:pt x="138" y="636"/>
                  </a:lnTo>
                  <a:lnTo>
                    <a:pt x="132" y="636"/>
                  </a:lnTo>
                  <a:lnTo>
                    <a:pt x="126" y="636"/>
                  </a:lnTo>
                  <a:lnTo>
                    <a:pt x="132" y="642"/>
                  </a:lnTo>
                  <a:lnTo>
                    <a:pt x="126" y="642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08" y="636"/>
                  </a:lnTo>
                  <a:lnTo>
                    <a:pt x="102" y="636"/>
                  </a:lnTo>
                  <a:lnTo>
                    <a:pt x="102" y="630"/>
                  </a:lnTo>
                  <a:lnTo>
                    <a:pt x="96" y="636"/>
                  </a:lnTo>
                  <a:lnTo>
                    <a:pt x="96" y="630"/>
                  </a:lnTo>
                  <a:lnTo>
                    <a:pt x="96" y="636"/>
                  </a:lnTo>
                  <a:lnTo>
                    <a:pt x="90" y="636"/>
                  </a:lnTo>
                  <a:lnTo>
                    <a:pt x="90" y="642"/>
                  </a:lnTo>
                  <a:lnTo>
                    <a:pt x="84" y="642"/>
                  </a:lnTo>
                  <a:lnTo>
                    <a:pt x="84" y="648"/>
                  </a:lnTo>
                  <a:lnTo>
                    <a:pt x="78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6" y="630"/>
                  </a:lnTo>
                  <a:lnTo>
                    <a:pt x="60" y="636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48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42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2" y="606"/>
                  </a:lnTo>
                  <a:lnTo>
                    <a:pt x="42" y="600"/>
                  </a:lnTo>
                  <a:lnTo>
                    <a:pt x="48" y="594"/>
                  </a:lnTo>
                  <a:lnTo>
                    <a:pt x="42" y="594"/>
                  </a:lnTo>
                  <a:lnTo>
                    <a:pt x="42" y="588"/>
                  </a:lnTo>
                  <a:lnTo>
                    <a:pt x="36" y="588"/>
                  </a:lnTo>
                  <a:lnTo>
                    <a:pt x="36" y="582"/>
                  </a:lnTo>
                  <a:lnTo>
                    <a:pt x="36" y="576"/>
                  </a:lnTo>
                  <a:lnTo>
                    <a:pt x="30" y="576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2" y="546"/>
                  </a:lnTo>
                  <a:lnTo>
                    <a:pt x="12" y="540"/>
                  </a:lnTo>
                  <a:lnTo>
                    <a:pt x="12" y="534"/>
                  </a:lnTo>
                  <a:lnTo>
                    <a:pt x="12" y="528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0" y="510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6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504" y="846"/>
              <a:ext cx="510" cy="352"/>
            </a:xfrm>
            <a:custGeom>
              <a:avLst/>
              <a:gdLst>
                <a:gd name="T0" fmla="*/ 12 w 600"/>
                <a:gd name="T1" fmla="*/ 396 h 414"/>
                <a:gd name="T2" fmla="*/ 42 w 600"/>
                <a:gd name="T3" fmla="*/ 390 h 414"/>
                <a:gd name="T4" fmla="*/ 66 w 600"/>
                <a:gd name="T5" fmla="*/ 384 h 414"/>
                <a:gd name="T6" fmla="*/ 90 w 600"/>
                <a:gd name="T7" fmla="*/ 372 h 414"/>
                <a:gd name="T8" fmla="*/ 102 w 600"/>
                <a:gd name="T9" fmla="*/ 354 h 414"/>
                <a:gd name="T10" fmla="*/ 132 w 600"/>
                <a:gd name="T11" fmla="*/ 342 h 414"/>
                <a:gd name="T12" fmla="*/ 144 w 600"/>
                <a:gd name="T13" fmla="*/ 324 h 414"/>
                <a:gd name="T14" fmla="*/ 156 w 600"/>
                <a:gd name="T15" fmla="*/ 306 h 414"/>
                <a:gd name="T16" fmla="*/ 174 w 600"/>
                <a:gd name="T17" fmla="*/ 282 h 414"/>
                <a:gd name="T18" fmla="*/ 162 w 600"/>
                <a:gd name="T19" fmla="*/ 264 h 414"/>
                <a:gd name="T20" fmla="*/ 162 w 600"/>
                <a:gd name="T21" fmla="*/ 234 h 414"/>
                <a:gd name="T22" fmla="*/ 168 w 600"/>
                <a:gd name="T23" fmla="*/ 216 h 414"/>
                <a:gd name="T24" fmla="*/ 186 w 600"/>
                <a:gd name="T25" fmla="*/ 192 h 414"/>
                <a:gd name="T26" fmla="*/ 192 w 600"/>
                <a:gd name="T27" fmla="*/ 168 h 414"/>
                <a:gd name="T28" fmla="*/ 216 w 600"/>
                <a:gd name="T29" fmla="*/ 150 h 414"/>
                <a:gd name="T30" fmla="*/ 234 w 600"/>
                <a:gd name="T31" fmla="*/ 132 h 414"/>
                <a:gd name="T32" fmla="*/ 258 w 600"/>
                <a:gd name="T33" fmla="*/ 120 h 414"/>
                <a:gd name="T34" fmla="*/ 282 w 600"/>
                <a:gd name="T35" fmla="*/ 108 h 414"/>
                <a:gd name="T36" fmla="*/ 306 w 600"/>
                <a:gd name="T37" fmla="*/ 102 h 414"/>
                <a:gd name="T38" fmla="*/ 324 w 600"/>
                <a:gd name="T39" fmla="*/ 84 h 414"/>
                <a:gd name="T40" fmla="*/ 336 w 600"/>
                <a:gd name="T41" fmla="*/ 60 h 414"/>
                <a:gd name="T42" fmla="*/ 348 w 600"/>
                <a:gd name="T43" fmla="*/ 30 h 414"/>
                <a:gd name="T44" fmla="*/ 360 w 600"/>
                <a:gd name="T45" fmla="*/ 6 h 414"/>
                <a:gd name="T46" fmla="*/ 384 w 600"/>
                <a:gd name="T47" fmla="*/ 0 h 414"/>
                <a:gd name="T48" fmla="*/ 396 w 600"/>
                <a:gd name="T49" fmla="*/ 18 h 414"/>
                <a:gd name="T50" fmla="*/ 414 w 600"/>
                <a:gd name="T51" fmla="*/ 36 h 414"/>
                <a:gd name="T52" fmla="*/ 438 w 600"/>
                <a:gd name="T53" fmla="*/ 36 h 414"/>
                <a:gd name="T54" fmla="*/ 468 w 600"/>
                <a:gd name="T55" fmla="*/ 36 h 414"/>
                <a:gd name="T56" fmla="*/ 492 w 600"/>
                <a:gd name="T57" fmla="*/ 36 h 414"/>
                <a:gd name="T58" fmla="*/ 510 w 600"/>
                <a:gd name="T59" fmla="*/ 36 h 414"/>
                <a:gd name="T60" fmla="*/ 504 w 600"/>
                <a:gd name="T61" fmla="*/ 36 h 414"/>
                <a:gd name="T62" fmla="*/ 510 w 600"/>
                <a:gd name="T63" fmla="*/ 36 h 414"/>
                <a:gd name="T64" fmla="*/ 534 w 600"/>
                <a:gd name="T65" fmla="*/ 42 h 414"/>
                <a:gd name="T66" fmla="*/ 552 w 600"/>
                <a:gd name="T67" fmla="*/ 54 h 414"/>
                <a:gd name="T68" fmla="*/ 564 w 600"/>
                <a:gd name="T69" fmla="*/ 72 h 414"/>
                <a:gd name="T70" fmla="*/ 570 w 600"/>
                <a:gd name="T71" fmla="*/ 102 h 414"/>
                <a:gd name="T72" fmla="*/ 570 w 600"/>
                <a:gd name="T73" fmla="*/ 120 h 414"/>
                <a:gd name="T74" fmla="*/ 576 w 600"/>
                <a:gd name="T75" fmla="*/ 144 h 414"/>
                <a:gd name="T76" fmla="*/ 600 w 600"/>
                <a:gd name="T77" fmla="*/ 174 h 414"/>
                <a:gd name="T78" fmla="*/ 594 w 600"/>
                <a:gd name="T79" fmla="*/ 192 h 414"/>
                <a:gd name="T80" fmla="*/ 576 w 600"/>
                <a:gd name="T81" fmla="*/ 186 h 414"/>
                <a:gd name="T82" fmla="*/ 546 w 600"/>
                <a:gd name="T83" fmla="*/ 186 h 414"/>
                <a:gd name="T84" fmla="*/ 510 w 600"/>
                <a:gd name="T85" fmla="*/ 192 h 414"/>
                <a:gd name="T86" fmla="*/ 510 w 600"/>
                <a:gd name="T87" fmla="*/ 210 h 414"/>
                <a:gd name="T88" fmla="*/ 474 w 600"/>
                <a:gd name="T89" fmla="*/ 216 h 414"/>
                <a:gd name="T90" fmla="*/ 462 w 600"/>
                <a:gd name="T91" fmla="*/ 234 h 414"/>
                <a:gd name="T92" fmla="*/ 474 w 600"/>
                <a:gd name="T93" fmla="*/ 252 h 414"/>
                <a:gd name="T94" fmla="*/ 444 w 600"/>
                <a:gd name="T95" fmla="*/ 258 h 414"/>
                <a:gd name="T96" fmla="*/ 420 w 600"/>
                <a:gd name="T97" fmla="*/ 264 h 414"/>
                <a:gd name="T98" fmla="*/ 408 w 600"/>
                <a:gd name="T99" fmla="*/ 282 h 414"/>
                <a:gd name="T100" fmla="*/ 390 w 600"/>
                <a:gd name="T101" fmla="*/ 294 h 414"/>
                <a:gd name="T102" fmla="*/ 366 w 600"/>
                <a:gd name="T103" fmla="*/ 306 h 414"/>
                <a:gd name="T104" fmla="*/ 336 w 600"/>
                <a:gd name="T105" fmla="*/ 312 h 414"/>
                <a:gd name="T106" fmla="*/ 312 w 600"/>
                <a:gd name="T107" fmla="*/ 312 h 414"/>
                <a:gd name="T108" fmla="*/ 288 w 600"/>
                <a:gd name="T109" fmla="*/ 318 h 414"/>
                <a:gd name="T110" fmla="*/ 270 w 600"/>
                <a:gd name="T111" fmla="*/ 330 h 414"/>
                <a:gd name="T112" fmla="*/ 246 w 600"/>
                <a:gd name="T113" fmla="*/ 342 h 414"/>
                <a:gd name="T114" fmla="*/ 222 w 600"/>
                <a:gd name="T115" fmla="*/ 360 h 414"/>
                <a:gd name="T116" fmla="*/ 0 w 600"/>
                <a:gd name="T117" fmla="*/ 408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0"/>
                <a:gd name="T178" fmla="*/ 0 h 414"/>
                <a:gd name="T179" fmla="*/ 600 w 600"/>
                <a:gd name="T180" fmla="*/ 414 h 4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5" name="Freeform 7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1336" y="1213"/>
              <a:ext cx="520" cy="531"/>
            </a:xfrm>
            <a:custGeom>
              <a:avLst/>
              <a:gdLst>
                <a:gd name="T0" fmla="*/ 558 w 612"/>
                <a:gd name="T1" fmla="*/ 78 h 624"/>
                <a:gd name="T2" fmla="*/ 522 w 612"/>
                <a:gd name="T3" fmla="*/ 114 h 624"/>
                <a:gd name="T4" fmla="*/ 534 w 612"/>
                <a:gd name="T5" fmla="*/ 192 h 624"/>
                <a:gd name="T6" fmla="*/ 540 w 612"/>
                <a:gd name="T7" fmla="*/ 228 h 624"/>
                <a:gd name="T8" fmla="*/ 552 w 612"/>
                <a:gd name="T9" fmla="*/ 354 h 624"/>
                <a:gd name="T10" fmla="*/ 558 w 612"/>
                <a:gd name="T11" fmla="*/ 396 h 624"/>
                <a:gd name="T12" fmla="*/ 570 w 612"/>
                <a:gd name="T13" fmla="*/ 510 h 624"/>
                <a:gd name="T14" fmla="*/ 570 w 612"/>
                <a:gd name="T15" fmla="*/ 582 h 624"/>
                <a:gd name="T16" fmla="*/ 492 w 612"/>
                <a:gd name="T17" fmla="*/ 582 h 624"/>
                <a:gd name="T18" fmla="*/ 432 w 612"/>
                <a:gd name="T19" fmla="*/ 582 h 624"/>
                <a:gd name="T20" fmla="*/ 384 w 612"/>
                <a:gd name="T21" fmla="*/ 576 h 624"/>
                <a:gd name="T22" fmla="*/ 360 w 612"/>
                <a:gd name="T23" fmla="*/ 588 h 624"/>
                <a:gd name="T24" fmla="*/ 336 w 612"/>
                <a:gd name="T25" fmla="*/ 588 h 624"/>
                <a:gd name="T26" fmla="*/ 318 w 612"/>
                <a:gd name="T27" fmla="*/ 594 h 624"/>
                <a:gd name="T28" fmla="*/ 306 w 612"/>
                <a:gd name="T29" fmla="*/ 606 h 624"/>
                <a:gd name="T30" fmla="*/ 294 w 612"/>
                <a:gd name="T31" fmla="*/ 588 h 624"/>
                <a:gd name="T32" fmla="*/ 276 w 612"/>
                <a:gd name="T33" fmla="*/ 576 h 624"/>
                <a:gd name="T34" fmla="*/ 264 w 612"/>
                <a:gd name="T35" fmla="*/ 588 h 624"/>
                <a:gd name="T36" fmla="*/ 264 w 612"/>
                <a:gd name="T37" fmla="*/ 612 h 624"/>
                <a:gd name="T38" fmla="*/ 246 w 612"/>
                <a:gd name="T39" fmla="*/ 618 h 624"/>
                <a:gd name="T40" fmla="*/ 228 w 612"/>
                <a:gd name="T41" fmla="*/ 612 h 624"/>
                <a:gd name="T42" fmla="*/ 210 w 612"/>
                <a:gd name="T43" fmla="*/ 600 h 624"/>
                <a:gd name="T44" fmla="*/ 204 w 612"/>
                <a:gd name="T45" fmla="*/ 588 h 624"/>
                <a:gd name="T46" fmla="*/ 192 w 612"/>
                <a:gd name="T47" fmla="*/ 576 h 624"/>
                <a:gd name="T48" fmla="*/ 180 w 612"/>
                <a:gd name="T49" fmla="*/ 552 h 624"/>
                <a:gd name="T50" fmla="*/ 162 w 612"/>
                <a:gd name="T51" fmla="*/ 546 h 624"/>
                <a:gd name="T52" fmla="*/ 150 w 612"/>
                <a:gd name="T53" fmla="*/ 534 h 624"/>
                <a:gd name="T54" fmla="*/ 132 w 612"/>
                <a:gd name="T55" fmla="*/ 528 h 624"/>
                <a:gd name="T56" fmla="*/ 108 w 612"/>
                <a:gd name="T57" fmla="*/ 528 h 624"/>
                <a:gd name="T58" fmla="*/ 102 w 612"/>
                <a:gd name="T59" fmla="*/ 522 h 624"/>
                <a:gd name="T60" fmla="*/ 96 w 612"/>
                <a:gd name="T61" fmla="*/ 528 h 624"/>
                <a:gd name="T62" fmla="*/ 84 w 612"/>
                <a:gd name="T63" fmla="*/ 528 h 624"/>
                <a:gd name="T64" fmla="*/ 66 w 612"/>
                <a:gd name="T65" fmla="*/ 534 h 624"/>
                <a:gd name="T66" fmla="*/ 48 w 612"/>
                <a:gd name="T67" fmla="*/ 528 h 624"/>
                <a:gd name="T68" fmla="*/ 36 w 612"/>
                <a:gd name="T69" fmla="*/ 540 h 624"/>
                <a:gd name="T70" fmla="*/ 30 w 612"/>
                <a:gd name="T71" fmla="*/ 552 h 624"/>
                <a:gd name="T72" fmla="*/ 30 w 612"/>
                <a:gd name="T73" fmla="*/ 540 h 624"/>
                <a:gd name="T74" fmla="*/ 36 w 612"/>
                <a:gd name="T75" fmla="*/ 516 h 624"/>
                <a:gd name="T76" fmla="*/ 54 w 612"/>
                <a:gd name="T77" fmla="*/ 474 h 624"/>
                <a:gd name="T78" fmla="*/ 54 w 612"/>
                <a:gd name="T79" fmla="*/ 450 h 624"/>
                <a:gd name="T80" fmla="*/ 48 w 612"/>
                <a:gd name="T81" fmla="*/ 426 h 624"/>
                <a:gd name="T82" fmla="*/ 36 w 612"/>
                <a:gd name="T83" fmla="*/ 402 h 624"/>
                <a:gd name="T84" fmla="*/ 36 w 612"/>
                <a:gd name="T85" fmla="*/ 390 h 624"/>
                <a:gd name="T86" fmla="*/ 36 w 612"/>
                <a:gd name="T87" fmla="*/ 390 h 624"/>
                <a:gd name="T88" fmla="*/ 36 w 612"/>
                <a:gd name="T89" fmla="*/ 378 h 624"/>
                <a:gd name="T90" fmla="*/ 42 w 612"/>
                <a:gd name="T91" fmla="*/ 360 h 624"/>
                <a:gd name="T92" fmla="*/ 42 w 612"/>
                <a:gd name="T93" fmla="*/ 342 h 624"/>
                <a:gd name="T94" fmla="*/ 30 w 612"/>
                <a:gd name="T95" fmla="*/ 330 h 624"/>
                <a:gd name="T96" fmla="*/ 24 w 612"/>
                <a:gd name="T97" fmla="*/ 324 h 624"/>
                <a:gd name="T98" fmla="*/ 12 w 612"/>
                <a:gd name="T99" fmla="*/ 312 h 624"/>
                <a:gd name="T100" fmla="*/ 12 w 612"/>
                <a:gd name="T101" fmla="*/ 306 h 624"/>
                <a:gd name="T102" fmla="*/ 12 w 612"/>
                <a:gd name="T103" fmla="*/ 306 h 624"/>
                <a:gd name="T104" fmla="*/ 12 w 612"/>
                <a:gd name="T105" fmla="*/ 294 h 624"/>
                <a:gd name="T106" fmla="*/ 6 w 612"/>
                <a:gd name="T107" fmla="*/ 312 h 624"/>
                <a:gd name="T108" fmla="*/ 0 w 612"/>
                <a:gd name="T109" fmla="*/ 324 h 624"/>
                <a:gd name="T110" fmla="*/ 6 w 612"/>
                <a:gd name="T111" fmla="*/ 306 h 624"/>
                <a:gd name="T112" fmla="*/ 108 w 612"/>
                <a:gd name="T113" fmla="*/ 294 h 624"/>
                <a:gd name="T114" fmla="*/ 198 w 612"/>
                <a:gd name="T115" fmla="*/ 264 h 624"/>
                <a:gd name="T116" fmla="*/ 204 w 612"/>
                <a:gd name="T117" fmla="*/ 204 h 624"/>
                <a:gd name="T118" fmla="*/ 216 w 612"/>
                <a:gd name="T119" fmla="*/ 192 h 624"/>
                <a:gd name="T120" fmla="*/ 252 w 612"/>
                <a:gd name="T121" fmla="*/ 60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12"/>
                <a:gd name="T184" fmla="*/ 0 h 624"/>
                <a:gd name="T185" fmla="*/ 612 w 612"/>
                <a:gd name="T186" fmla="*/ 624 h 6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8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36" y="1193"/>
              <a:ext cx="357" cy="296"/>
            </a:xfrm>
            <a:custGeom>
              <a:avLst/>
              <a:gdLst>
                <a:gd name="T0" fmla="*/ 264 w 420"/>
                <a:gd name="T1" fmla="*/ 0 h 348"/>
                <a:gd name="T2" fmla="*/ 348 w 420"/>
                <a:gd name="T3" fmla="*/ 0 h 348"/>
                <a:gd name="T4" fmla="*/ 420 w 420"/>
                <a:gd name="T5" fmla="*/ 24 h 348"/>
                <a:gd name="T6" fmla="*/ 420 w 420"/>
                <a:gd name="T7" fmla="*/ 84 h 348"/>
                <a:gd name="T8" fmla="*/ 252 w 420"/>
                <a:gd name="T9" fmla="*/ 144 h 348"/>
                <a:gd name="T10" fmla="*/ 246 w 420"/>
                <a:gd name="T11" fmla="*/ 210 h 348"/>
                <a:gd name="T12" fmla="*/ 210 w 420"/>
                <a:gd name="T13" fmla="*/ 216 h 348"/>
                <a:gd name="T14" fmla="*/ 204 w 420"/>
                <a:gd name="T15" fmla="*/ 222 h 348"/>
                <a:gd name="T16" fmla="*/ 204 w 420"/>
                <a:gd name="T17" fmla="*/ 234 h 348"/>
                <a:gd name="T18" fmla="*/ 198 w 420"/>
                <a:gd name="T19" fmla="*/ 246 h 348"/>
                <a:gd name="T20" fmla="*/ 204 w 420"/>
                <a:gd name="T21" fmla="*/ 300 h 348"/>
                <a:gd name="T22" fmla="*/ 162 w 420"/>
                <a:gd name="T23" fmla="*/ 318 h 348"/>
                <a:gd name="T24" fmla="*/ 60 w 420"/>
                <a:gd name="T25" fmla="*/ 318 h 348"/>
                <a:gd name="T26" fmla="*/ 6 w 420"/>
                <a:gd name="T27" fmla="*/ 318 h 348"/>
                <a:gd name="T28" fmla="*/ 6 w 420"/>
                <a:gd name="T29" fmla="*/ 336 h 348"/>
                <a:gd name="T30" fmla="*/ 0 w 420"/>
                <a:gd name="T31" fmla="*/ 342 h 348"/>
                <a:gd name="T32" fmla="*/ 0 w 420"/>
                <a:gd name="T33" fmla="*/ 342 h 348"/>
                <a:gd name="T34" fmla="*/ 0 w 420"/>
                <a:gd name="T35" fmla="*/ 330 h 348"/>
                <a:gd name="T36" fmla="*/ 6 w 420"/>
                <a:gd name="T37" fmla="*/ 318 h 348"/>
                <a:gd name="T38" fmla="*/ 6 w 420"/>
                <a:gd name="T39" fmla="*/ 306 h 348"/>
                <a:gd name="T40" fmla="*/ 6 w 420"/>
                <a:gd name="T41" fmla="*/ 294 h 348"/>
                <a:gd name="T42" fmla="*/ 12 w 420"/>
                <a:gd name="T43" fmla="*/ 282 h 348"/>
                <a:gd name="T44" fmla="*/ 18 w 420"/>
                <a:gd name="T45" fmla="*/ 276 h 348"/>
                <a:gd name="T46" fmla="*/ 24 w 420"/>
                <a:gd name="T47" fmla="*/ 270 h 348"/>
                <a:gd name="T48" fmla="*/ 30 w 420"/>
                <a:gd name="T49" fmla="*/ 264 h 348"/>
                <a:gd name="T50" fmla="*/ 36 w 420"/>
                <a:gd name="T51" fmla="*/ 252 h 348"/>
                <a:gd name="T52" fmla="*/ 42 w 420"/>
                <a:gd name="T53" fmla="*/ 246 h 348"/>
                <a:gd name="T54" fmla="*/ 48 w 420"/>
                <a:gd name="T55" fmla="*/ 240 h 348"/>
                <a:gd name="T56" fmla="*/ 48 w 420"/>
                <a:gd name="T57" fmla="*/ 228 h 348"/>
                <a:gd name="T58" fmla="*/ 48 w 420"/>
                <a:gd name="T59" fmla="*/ 228 h 348"/>
                <a:gd name="T60" fmla="*/ 54 w 420"/>
                <a:gd name="T61" fmla="*/ 222 h 348"/>
                <a:gd name="T62" fmla="*/ 60 w 420"/>
                <a:gd name="T63" fmla="*/ 210 h 348"/>
                <a:gd name="T64" fmla="*/ 60 w 420"/>
                <a:gd name="T65" fmla="*/ 210 h 348"/>
                <a:gd name="T66" fmla="*/ 66 w 420"/>
                <a:gd name="T67" fmla="*/ 198 h 348"/>
                <a:gd name="T68" fmla="*/ 72 w 420"/>
                <a:gd name="T69" fmla="*/ 192 h 348"/>
                <a:gd name="T70" fmla="*/ 72 w 420"/>
                <a:gd name="T71" fmla="*/ 192 h 348"/>
                <a:gd name="T72" fmla="*/ 60 w 420"/>
                <a:gd name="T73" fmla="*/ 192 h 348"/>
                <a:gd name="T74" fmla="*/ 60 w 420"/>
                <a:gd name="T75" fmla="*/ 204 h 348"/>
                <a:gd name="T76" fmla="*/ 54 w 420"/>
                <a:gd name="T77" fmla="*/ 198 h 348"/>
                <a:gd name="T78" fmla="*/ 60 w 420"/>
                <a:gd name="T79" fmla="*/ 192 h 348"/>
                <a:gd name="T80" fmla="*/ 72 w 420"/>
                <a:gd name="T81" fmla="*/ 186 h 348"/>
                <a:gd name="T82" fmla="*/ 78 w 420"/>
                <a:gd name="T83" fmla="*/ 180 h 348"/>
                <a:gd name="T84" fmla="*/ 84 w 420"/>
                <a:gd name="T85" fmla="*/ 174 h 348"/>
                <a:gd name="T86" fmla="*/ 90 w 420"/>
                <a:gd name="T87" fmla="*/ 162 h 348"/>
                <a:gd name="T88" fmla="*/ 102 w 420"/>
                <a:gd name="T89" fmla="*/ 156 h 348"/>
                <a:gd name="T90" fmla="*/ 108 w 420"/>
                <a:gd name="T91" fmla="*/ 150 h 348"/>
                <a:gd name="T92" fmla="*/ 114 w 420"/>
                <a:gd name="T93" fmla="*/ 138 h 348"/>
                <a:gd name="T94" fmla="*/ 114 w 420"/>
                <a:gd name="T95" fmla="*/ 126 h 348"/>
                <a:gd name="T96" fmla="*/ 114 w 420"/>
                <a:gd name="T97" fmla="*/ 114 h 348"/>
                <a:gd name="T98" fmla="*/ 120 w 420"/>
                <a:gd name="T99" fmla="*/ 102 h 348"/>
                <a:gd name="T100" fmla="*/ 126 w 420"/>
                <a:gd name="T101" fmla="*/ 96 h 348"/>
                <a:gd name="T102" fmla="*/ 132 w 420"/>
                <a:gd name="T103" fmla="*/ 84 h 348"/>
                <a:gd name="T104" fmla="*/ 132 w 420"/>
                <a:gd name="T105" fmla="*/ 72 h 348"/>
                <a:gd name="T106" fmla="*/ 144 w 420"/>
                <a:gd name="T107" fmla="*/ 66 h 348"/>
                <a:gd name="T108" fmla="*/ 156 w 420"/>
                <a:gd name="T109" fmla="*/ 60 h 348"/>
                <a:gd name="T110" fmla="*/ 174 w 420"/>
                <a:gd name="T111" fmla="*/ 54 h 348"/>
                <a:gd name="T112" fmla="*/ 180 w 420"/>
                <a:gd name="T113" fmla="*/ 48 h 348"/>
                <a:gd name="T114" fmla="*/ 180 w 420"/>
                <a:gd name="T115" fmla="*/ 30 h 348"/>
                <a:gd name="T116" fmla="*/ 186 w 420"/>
                <a:gd name="T117" fmla="*/ 24 h 348"/>
                <a:gd name="T118" fmla="*/ 192 w 420"/>
                <a:gd name="T119" fmla="*/ 18 h 348"/>
                <a:gd name="T120" fmla="*/ 192 w 420"/>
                <a:gd name="T121" fmla="*/ 18 h 348"/>
                <a:gd name="T122" fmla="*/ 192 w 420"/>
                <a:gd name="T123" fmla="*/ 6 h 348"/>
                <a:gd name="T124" fmla="*/ 198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348"/>
                <a:gd name="T191" fmla="*/ 420 w 420"/>
                <a:gd name="T192" fmla="*/ 348 h 34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solidFill>
                  <a:srgbClr val="FF6C32"/>
                </a:solidFill>
              </a:endParaRPr>
            </a:p>
          </p:txBody>
        </p:sp>
        <p:sp>
          <p:nvSpPr>
            <p:cNvPr id="97" name="Freeform 9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93" y="795"/>
              <a:ext cx="872" cy="770"/>
            </a:xfrm>
            <a:custGeom>
              <a:avLst/>
              <a:gdLst>
                <a:gd name="T0" fmla="*/ 18 w 1026"/>
                <a:gd name="T1" fmla="*/ 408 h 906"/>
                <a:gd name="T2" fmla="*/ 48 w 1026"/>
                <a:gd name="T3" fmla="*/ 384 h 906"/>
                <a:gd name="T4" fmla="*/ 78 w 1026"/>
                <a:gd name="T5" fmla="*/ 372 h 906"/>
                <a:gd name="T6" fmla="*/ 114 w 1026"/>
                <a:gd name="T7" fmla="*/ 372 h 906"/>
                <a:gd name="T8" fmla="*/ 156 w 1026"/>
                <a:gd name="T9" fmla="*/ 360 h 906"/>
                <a:gd name="T10" fmla="*/ 180 w 1026"/>
                <a:gd name="T11" fmla="*/ 342 h 906"/>
                <a:gd name="T12" fmla="*/ 198 w 1026"/>
                <a:gd name="T13" fmla="*/ 318 h 906"/>
                <a:gd name="T14" fmla="*/ 240 w 1026"/>
                <a:gd name="T15" fmla="*/ 312 h 906"/>
                <a:gd name="T16" fmla="*/ 240 w 1026"/>
                <a:gd name="T17" fmla="*/ 294 h 906"/>
                <a:gd name="T18" fmla="*/ 270 w 1026"/>
                <a:gd name="T19" fmla="*/ 270 h 906"/>
                <a:gd name="T20" fmla="*/ 282 w 1026"/>
                <a:gd name="T21" fmla="*/ 252 h 906"/>
                <a:gd name="T22" fmla="*/ 330 w 1026"/>
                <a:gd name="T23" fmla="*/ 246 h 906"/>
                <a:gd name="T24" fmla="*/ 360 w 1026"/>
                <a:gd name="T25" fmla="*/ 252 h 906"/>
                <a:gd name="T26" fmla="*/ 378 w 1026"/>
                <a:gd name="T27" fmla="*/ 234 h 906"/>
                <a:gd name="T28" fmla="*/ 348 w 1026"/>
                <a:gd name="T29" fmla="*/ 198 h 906"/>
                <a:gd name="T30" fmla="*/ 348 w 1026"/>
                <a:gd name="T31" fmla="*/ 168 h 906"/>
                <a:gd name="T32" fmla="*/ 342 w 1026"/>
                <a:gd name="T33" fmla="*/ 126 h 906"/>
                <a:gd name="T34" fmla="*/ 324 w 1026"/>
                <a:gd name="T35" fmla="*/ 102 h 906"/>
                <a:gd name="T36" fmla="*/ 354 w 1026"/>
                <a:gd name="T37" fmla="*/ 96 h 906"/>
                <a:gd name="T38" fmla="*/ 378 w 1026"/>
                <a:gd name="T39" fmla="*/ 72 h 906"/>
                <a:gd name="T40" fmla="*/ 402 w 1026"/>
                <a:gd name="T41" fmla="*/ 66 h 906"/>
                <a:gd name="T42" fmla="*/ 432 w 1026"/>
                <a:gd name="T43" fmla="*/ 66 h 906"/>
                <a:gd name="T44" fmla="*/ 456 w 1026"/>
                <a:gd name="T45" fmla="*/ 42 h 906"/>
                <a:gd name="T46" fmla="*/ 492 w 1026"/>
                <a:gd name="T47" fmla="*/ 30 h 906"/>
                <a:gd name="T48" fmla="*/ 534 w 1026"/>
                <a:gd name="T49" fmla="*/ 30 h 906"/>
                <a:gd name="T50" fmla="*/ 564 w 1026"/>
                <a:gd name="T51" fmla="*/ 24 h 906"/>
                <a:gd name="T52" fmla="*/ 600 w 1026"/>
                <a:gd name="T53" fmla="*/ 18 h 906"/>
                <a:gd name="T54" fmla="*/ 636 w 1026"/>
                <a:gd name="T55" fmla="*/ 12 h 906"/>
                <a:gd name="T56" fmla="*/ 678 w 1026"/>
                <a:gd name="T57" fmla="*/ 18 h 906"/>
                <a:gd name="T58" fmla="*/ 708 w 1026"/>
                <a:gd name="T59" fmla="*/ 18 h 906"/>
                <a:gd name="T60" fmla="*/ 744 w 1026"/>
                <a:gd name="T61" fmla="*/ 6 h 906"/>
                <a:gd name="T62" fmla="*/ 762 w 1026"/>
                <a:gd name="T63" fmla="*/ 6 h 906"/>
                <a:gd name="T64" fmla="*/ 786 w 1026"/>
                <a:gd name="T65" fmla="*/ 12 h 906"/>
                <a:gd name="T66" fmla="*/ 798 w 1026"/>
                <a:gd name="T67" fmla="*/ 6 h 906"/>
                <a:gd name="T68" fmla="*/ 822 w 1026"/>
                <a:gd name="T69" fmla="*/ 12 h 906"/>
                <a:gd name="T70" fmla="*/ 852 w 1026"/>
                <a:gd name="T71" fmla="*/ 18 h 906"/>
                <a:gd name="T72" fmla="*/ 834 w 1026"/>
                <a:gd name="T73" fmla="*/ 30 h 906"/>
                <a:gd name="T74" fmla="*/ 846 w 1026"/>
                <a:gd name="T75" fmla="*/ 48 h 906"/>
                <a:gd name="T76" fmla="*/ 846 w 1026"/>
                <a:gd name="T77" fmla="*/ 78 h 906"/>
                <a:gd name="T78" fmla="*/ 846 w 1026"/>
                <a:gd name="T79" fmla="*/ 102 h 906"/>
                <a:gd name="T80" fmla="*/ 834 w 1026"/>
                <a:gd name="T81" fmla="*/ 132 h 906"/>
                <a:gd name="T82" fmla="*/ 804 w 1026"/>
                <a:gd name="T83" fmla="*/ 156 h 906"/>
                <a:gd name="T84" fmla="*/ 816 w 1026"/>
                <a:gd name="T85" fmla="*/ 198 h 906"/>
                <a:gd name="T86" fmla="*/ 882 w 1026"/>
                <a:gd name="T87" fmla="*/ 252 h 906"/>
                <a:gd name="T88" fmla="*/ 900 w 1026"/>
                <a:gd name="T89" fmla="*/ 342 h 906"/>
                <a:gd name="T90" fmla="*/ 918 w 1026"/>
                <a:gd name="T91" fmla="*/ 408 h 906"/>
                <a:gd name="T92" fmla="*/ 918 w 1026"/>
                <a:gd name="T93" fmla="*/ 450 h 906"/>
                <a:gd name="T94" fmla="*/ 918 w 1026"/>
                <a:gd name="T95" fmla="*/ 492 h 906"/>
                <a:gd name="T96" fmla="*/ 918 w 1026"/>
                <a:gd name="T97" fmla="*/ 528 h 906"/>
                <a:gd name="T98" fmla="*/ 918 w 1026"/>
                <a:gd name="T99" fmla="*/ 570 h 906"/>
                <a:gd name="T100" fmla="*/ 954 w 1026"/>
                <a:gd name="T101" fmla="*/ 624 h 906"/>
                <a:gd name="T102" fmla="*/ 1008 w 1026"/>
                <a:gd name="T103" fmla="*/ 642 h 906"/>
                <a:gd name="T104" fmla="*/ 786 w 1026"/>
                <a:gd name="T105" fmla="*/ 822 h 906"/>
                <a:gd name="T106" fmla="*/ 594 w 1026"/>
                <a:gd name="T107" fmla="*/ 900 h 906"/>
                <a:gd name="T108" fmla="*/ 588 w 1026"/>
                <a:gd name="T109" fmla="*/ 876 h 906"/>
                <a:gd name="T110" fmla="*/ 576 w 1026"/>
                <a:gd name="T111" fmla="*/ 852 h 906"/>
                <a:gd name="T112" fmla="*/ 546 w 1026"/>
                <a:gd name="T113" fmla="*/ 846 h 906"/>
                <a:gd name="T114" fmla="*/ 522 w 1026"/>
                <a:gd name="T115" fmla="*/ 840 h 906"/>
                <a:gd name="T116" fmla="*/ 498 w 1026"/>
                <a:gd name="T117" fmla="*/ 816 h 906"/>
                <a:gd name="T118" fmla="*/ 420 w 1026"/>
                <a:gd name="T119" fmla="*/ 750 h 906"/>
                <a:gd name="T120" fmla="*/ 162 w 1026"/>
                <a:gd name="T121" fmla="*/ 588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6"/>
                <a:gd name="T184" fmla="*/ 0 h 906"/>
                <a:gd name="T185" fmla="*/ 1026 w 1026"/>
                <a:gd name="T186" fmla="*/ 906 h 90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1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065" y="1372"/>
              <a:ext cx="668" cy="499"/>
            </a:xfrm>
            <a:custGeom>
              <a:avLst/>
              <a:gdLst>
                <a:gd name="T0" fmla="*/ 18 w 786"/>
                <a:gd name="T1" fmla="*/ 426 h 588"/>
                <a:gd name="T2" fmla="*/ 54 w 786"/>
                <a:gd name="T3" fmla="*/ 408 h 588"/>
                <a:gd name="T4" fmla="*/ 144 w 786"/>
                <a:gd name="T5" fmla="*/ 408 h 588"/>
                <a:gd name="T6" fmla="*/ 174 w 786"/>
                <a:gd name="T7" fmla="*/ 396 h 588"/>
                <a:gd name="T8" fmla="*/ 186 w 786"/>
                <a:gd name="T9" fmla="*/ 384 h 588"/>
                <a:gd name="T10" fmla="*/ 192 w 786"/>
                <a:gd name="T11" fmla="*/ 342 h 588"/>
                <a:gd name="T12" fmla="*/ 234 w 786"/>
                <a:gd name="T13" fmla="*/ 210 h 588"/>
                <a:gd name="T14" fmla="*/ 348 w 786"/>
                <a:gd name="T15" fmla="*/ 144 h 588"/>
                <a:gd name="T16" fmla="*/ 546 w 786"/>
                <a:gd name="T17" fmla="*/ 24 h 588"/>
                <a:gd name="T18" fmla="*/ 624 w 786"/>
                <a:gd name="T19" fmla="*/ 6 h 588"/>
                <a:gd name="T20" fmla="*/ 660 w 786"/>
                <a:gd name="T21" fmla="*/ 12 h 588"/>
                <a:gd name="T22" fmla="*/ 696 w 786"/>
                <a:gd name="T23" fmla="*/ 42 h 588"/>
                <a:gd name="T24" fmla="*/ 744 w 786"/>
                <a:gd name="T25" fmla="*/ 96 h 588"/>
                <a:gd name="T26" fmla="*/ 762 w 786"/>
                <a:gd name="T27" fmla="*/ 126 h 588"/>
                <a:gd name="T28" fmla="*/ 774 w 786"/>
                <a:gd name="T29" fmla="*/ 144 h 588"/>
                <a:gd name="T30" fmla="*/ 774 w 786"/>
                <a:gd name="T31" fmla="*/ 186 h 588"/>
                <a:gd name="T32" fmla="*/ 768 w 786"/>
                <a:gd name="T33" fmla="*/ 216 h 588"/>
                <a:gd name="T34" fmla="*/ 732 w 786"/>
                <a:gd name="T35" fmla="*/ 354 h 588"/>
                <a:gd name="T36" fmla="*/ 702 w 786"/>
                <a:gd name="T37" fmla="*/ 390 h 588"/>
                <a:gd name="T38" fmla="*/ 678 w 786"/>
                <a:gd name="T39" fmla="*/ 426 h 588"/>
                <a:gd name="T40" fmla="*/ 672 w 786"/>
                <a:gd name="T41" fmla="*/ 444 h 588"/>
                <a:gd name="T42" fmla="*/ 666 w 786"/>
                <a:gd name="T43" fmla="*/ 486 h 588"/>
                <a:gd name="T44" fmla="*/ 648 w 786"/>
                <a:gd name="T45" fmla="*/ 492 h 588"/>
                <a:gd name="T46" fmla="*/ 642 w 786"/>
                <a:gd name="T47" fmla="*/ 498 h 588"/>
                <a:gd name="T48" fmla="*/ 642 w 786"/>
                <a:gd name="T49" fmla="*/ 498 h 588"/>
                <a:gd name="T50" fmla="*/ 630 w 786"/>
                <a:gd name="T51" fmla="*/ 498 h 588"/>
                <a:gd name="T52" fmla="*/ 618 w 786"/>
                <a:gd name="T53" fmla="*/ 510 h 588"/>
                <a:gd name="T54" fmla="*/ 618 w 786"/>
                <a:gd name="T55" fmla="*/ 510 h 588"/>
                <a:gd name="T56" fmla="*/ 600 w 786"/>
                <a:gd name="T57" fmla="*/ 516 h 588"/>
                <a:gd name="T58" fmla="*/ 588 w 786"/>
                <a:gd name="T59" fmla="*/ 516 h 588"/>
                <a:gd name="T60" fmla="*/ 570 w 786"/>
                <a:gd name="T61" fmla="*/ 504 h 588"/>
                <a:gd name="T62" fmla="*/ 540 w 786"/>
                <a:gd name="T63" fmla="*/ 504 h 588"/>
                <a:gd name="T64" fmla="*/ 492 w 786"/>
                <a:gd name="T65" fmla="*/ 510 h 588"/>
                <a:gd name="T66" fmla="*/ 474 w 786"/>
                <a:gd name="T67" fmla="*/ 534 h 588"/>
                <a:gd name="T68" fmla="*/ 444 w 786"/>
                <a:gd name="T69" fmla="*/ 528 h 588"/>
                <a:gd name="T70" fmla="*/ 420 w 786"/>
                <a:gd name="T71" fmla="*/ 522 h 588"/>
                <a:gd name="T72" fmla="*/ 402 w 786"/>
                <a:gd name="T73" fmla="*/ 510 h 588"/>
                <a:gd name="T74" fmla="*/ 372 w 786"/>
                <a:gd name="T75" fmla="*/ 510 h 588"/>
                <a:gd name="T76" fmla="*/ 342 w 786"/>
                <a:gd name="T77" fmla="*/ 522 h 588"/>
                <a:gd name="T78" fmla="*/ 312 w 786"/>
                <a:gd name="T79" fmla="*/ 492 h 588"/>
                <a:gd name="T80" fmla="*/ 294 w 786"/>
                <a:gd name="T81" fmla="*/ 486 h 588"/>
                <a:gd name="T82" fmla="*/ 252 w 786"/>
                <a:gd name="T83" fmla="*/ 486 h 588"/>
                <a:gd name="T84" fmla="*/ 234 w 786"/>
                <a:gd name="T85" fmla="*/ 480 h 588"/>
                <a:gd name="T86" fmla="*/ 198 w 786"/>
                <a:gd name="T87" fmla="*/ 522 h 588"/>
                <a:gd name="T88" fmla="*/ 174 w 786"/>
                <a:gd name="T89" fmla="*/ 546 h 588"/>
                <a:gd name="T90" fmla="*/ 174 w 786"/>
                <a:gd name="T91" fmla="*/ 576 h 588"/>
                <a:gd name="T92" fmla="*/ 162 w 786"/>
                <a:gd name="T93" fmla="*/ 576 h 588"/>
                <a:gd name="T94" fmla="*/ 150 w 786"/>
                <a:gd name="T95" fmla="*/ 564 h 588"/>
                <a:gd name="T96" fmla="*/ 132 w 786"/>
                <a:gd name="T97" fmla="*/ 552 h 588"/>
                <a:gd name="T98" fmla="*/ 114 w 786"/>
                <a:gd name="T99" fmla="*/ 558 h 588"/>
                <a:gd name="T100" fmla="*/ 114 w 786"/>
                <a:gd name="T101" fmla="*/ 570 h 588"/>
                <a:gd name="T102" fmla="*/ 96 w 786"/>
                <a:gd name="T103" fmla="*/ 558 h 588"/>
                <a:gd name="T104" fmla="*/ 102 w 786"/>
                <a:gd name="T105" fmla="*/ 540 h 588"/>
                <a:gd name="T106" fmla="*/ 84 w 786"/>
                <a:gd name="T107" fmla="*/ 540 h 588"/>
                <a:gd name="T108" fmla="*/ 42 w 786"/>
                <a:gd name="T109" fmla="*/ 504 h 588"/>
                <a:gd name="T110" fmla="*/ 48 w 786"/>
                <a:gd name="T111" fmla="*/ 498 h 588"/>
                <a:gd name="T112" fmla="*/ 30 w 786"/>
                <a:gd name="T113" fmla="*/ 492 h 588"/>
                <a:gd name="T114" fmla="*/ 18 w 786"/>
                <a:gd name="T115" fmla="*/ 480 h 588"/>
                <a:gd name="T116" fmla="*/ 12 w 786"/>
                <a:gd name="T117" fmla="*/ 462 h 588"/>
                <a:gd name="T118" fmla="*/ 0 w 786"/>
                <a:gd name="T119" fmla="*/ 444 h 588"/>
                <a:gd name="T120" fmla="*/ 6 w 786"/>
                <a:gd name="T121" fmla="*/ 420 h 5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588"/>
                <a:gd name="T185" fmla="*/ 786 w 786"/>
                <a:gd name="T186" fmla="*/ 588 h 5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588">
                  <a:moveTo>
                    <a:pt x="6" y="420"/>
                  </a:moveTo>
                  <a:lnTo>
                    <a:pt x="12" y="426"/>
                  </a:lnTo>
                  <a:lnTo>
                    <a:pt x="18" y="420"/>
                  </a:lnTo>
                  <a:lnTo>
                    <a:pt x="18" y="426"/>
                  </a:lnTo>
                  <a:lnTo>
                    <a:pt x="24" y="426"/>
                  </a:lnTo>
                  <a:lnTo>
                    <a:pt x="30" y="426"/>
                  </a:lnTo>
                  <a:lnTo>
                    <a:pt x="42" y="426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84" y="408"/>
                  </a:lnTo>
                  <a:lnTo>
                    <a:pt x="120" y="402"/>
                  </a:lnTo>
                  <a:lnTo>
                    <a:pt x="144" y="408"/>
                  </a:lnTo>
                  <a:lnTo>
                    <a:pt x="168" y="408"/>
                  </a:lnTo>
                  <a:lnTo>
                    <a:pt x="168" y="402"/>
                  </a:lnTo>
                  <a:lnTo>
                    <a:pt x="168" y="396"/>
                  </a:lnTo>
                  <a:lnTo>
                    <a:pt x="174" y="396"/>
                  </a:lnTo>
                  <a:lnTo>
                    <a:pt x="174" y="390"/>
                  </a:lnTo>
                  <a:lnTo>
                    <a:pt x="180" y="390"/>
                  </a:lnTo>
                  <a:lnTo>
                    <a:pt x="186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92" y="372"/>
                  </a:lnTo>
                  <a:lnTo>
                    <a:pt x="192" y="354"/>
                  </a:lnTo>
                  <a:lnTo>
                    <a:pt x="192" y="342"/>
                  </a:lnTo>
                  <a:lnTo>
                    <a:pt x="192" y="330"/>
                  </a:lnTo>
                  <a:lnTo>
                    <a:pt x="204" y="324"/>
                  </a:lnTo>
                  <a:lnTo>
                    <a:pt x="204" y="216"/>
                  </a:lnTo>
                  <a:lnTo>
                    <a:pt x="234" y="210"/>
                  </a:lnTo>
                  <a:lnTo>
                    <a:pt x="282" y="204"/>
                  </a:lnTo>
                  <a:lnTo>
                    <a:pt x="312" y="174"/>
                  </a:lnTo>
                  <a:lnTo>
                    <a:pt x="330" y="156"/>
                  </a:lnTo>
                  <a:lnTo>
                    <a:pt x="348" y="144"/>
                  </a:lnTo>
                  <a:lnTo>
                    <a:pt x="360" y="132"/>
                  </a:lnTo>
                  <a:lnTo>
                    <a:pt x="420" y="96"/>
                  </a:lnTo>
                  <a:lnTo>
                    <a:pt x="468" y="66"/>
                  </a:lnTo>
                  <a:lnTo>
                    <a:pt x="546" y="24"/>
                  </a:lnTo>
                  <a:lnTo>
                    <a:pt x="588" y="0"/>
                  </a:lnTo>
                  <a:lnTo>
                    <a:pt x="594" y="0"/>
                  </a:lnTo>
                  <a:lnTo>
                    <a:pt x="606" y="6"/>
                  </a:lnTo>
                  <a:lnTo>
                    <a:pt x="624" y="6"/>
                  </a:lnTo>
                  <a:lnTo>
                    <a:pt x="630" y="6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0" y="18"/>
                  </a:lnTo>
                  <a:lnTo>
                    <a:pt x="666" y="18"/>
                  </a:lnTo>
                  <a:lnTo>
                    <a:pt x="672" y="24"/>
                  </a:lnTo>
                  <a:lnTo>
                    <a:pt x="696" y="42"/>
                  </a:lnTo>
                  <a:lnTo>
                    <a:pt x="738" y="24"/>
                  </a:lnTo>
                  <a:lnTo>
                    <a:pt x="744" y="54"/>
                  </a:lnTo>
                  <a:lnTo>
                    <a:pt x="744" y="72"/>
                  </a:lnTo>
                  <a:lnTo>
                    <a:pt x="744" y="96"/>
                  </a:lnTo>
                  <a:lnTo>
                    <a:pt x="744" y="102"/>
                  </a:lnTo>
                  <a:lnTo>
                    <a:pt x="750" y="102"/>
                  </a:lnTo>
                  <a:lnTo>
                    <a:pt x="768" y="126"/>
                  </a:lnTo>
                  <a:lnTo>
                    <a:pt x="762" y="126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80" y="150"/>
                  </a:lnTo>
                  <a:lnTo>
                    <a:pt x="786" y="156"/>
                  </a:lnTo>
                  <a:lnTo>
                    <a:pt x="774" y="174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68" y="210"/>
                  </a:lnTo>
                  <a:lnTo>
                    <a:pt x="768" y="216"/>
                  </a:lnTo>
                  <a:lnTo>
                    <a:pt x="768" y="222"/>
                  </a:lnTo>
                  <a:lnTo>
                    <a:pt x="768" y="234"/>
                  </a:lnTo>
                  <a:lnTo>
                    <a:pt x="762" y="330"/>
                  </a:lnTo>
                  <a:lnTo>
                    <a:pt x="732" y="354"/>
                  </a:lnTo>
                  <a:lnTo>
                    <a:pt x="726" y="366"/>
                  </a:lnTo>
                  <a:lnTo>
                    <a:pt x="720" y="372"/>
                  </a:lnTo>
                  <a:lnTo>
                    <a:pt x="708" y="384"/>
                  </a:lnTo>
                  <a:lnTo>
                    <a:pt x="702" y="390"/>
                  </a:lnTo>
                  <a:lnTo>
                    <a:pt x="696" y="396"/>
                  </a:lnTo>
                  <a:lnTo>
                    <a:pt x="684" y="414"/>
                  </a:lnTo>
                  <a:lnTo>
                    <a:pt x="678" y="420"/>
                  </a:lnTo>
                  <a:lnTo>
                    <a:pt x="678" y="426"/>
                  </a:lnTo>
                  <a:lnTo>
                    <a:pt x="678" y="432"/>
                  </a:lnTo>
                  <a:lnTo>
                    <a:pt x="678" y="438"/>
                  </a:lnTo>
                  <a:lnTo>
                    <a:pt x="672" y="438"/>
                  </a:lnTo>
                  <a:lnTo>
                    <a:pt x="672" y="444"/>
                  </a:lnTo>
                  <a:lnTo>
                    <a:pt x="666" y="444"/>
                  </a:lnTo>
                  <a:lnTo>
                    <a:pt x="660" y="450"/>
                  </a:lnTo>
                  <a:lnTo>
                    <a:pt x="660" y="456"/>
                  </a:lnTo>
                  <a:lnTo>
                    <a:pt x="666" y="486"/>
                  </a:lnTo>
                  <a:lnTo>
                    <a:pt x="660" y="486"/>
                  </a:lnTo>
                  <a:lnTo>
                    <a:pt x="654" y="486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0" y="498"/>
                  </a:lnTo>
                  <a:lnTo>
                    <a:pt x="630" y="504"/>
                  </a:lnTo>
                  <a:lnTo>
                    <a:pt x="624" y="504"/>
                  </a:lnTo>
                  <a:lnTo>
                    <a:pt x="624" y="510"/>
                  </a:lnTo>
                  <a:lnTo>
                    <a:pt x="618" y="510"/>
                  </a:lnTo>
                  <a:lnTo>
                    <a:pt x="618" y="504"/>
                  </a:lnTo>
                  <a:lnTo>
                    <a:pt x="618" y="510"/>
                  </a:lnTo>
                  <a:lnTo>
                    <a:pt x="612" y="510"/>
                  </a:lnTo>
                  <a:lnTo>
                    <a:pt x="618" y="510"/>
                  </a:lnTo>
                  <a:lnTo>
                    <a:pt x="618" y="516"/>
                  </a:lnTo>
                  <a:lnTo>
                    <a:pt x="612" y="516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70" y="510"/>
                  </a:lnTo>
                  <a:lnTo>
                    <a:pt x="570" y="504"/>
                  </a:lnTo>
                  <a:lnTo>
                    <a:pt x="564" y="504"/>
                  </a:lnTo>
                  <a:lnTo>
                    <a:pt x="558" y="504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22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2" y="510"/>
                  </a:lnTo>
                  <a:lnTo>
                    <a:pt x="486" y="516"/>
                  </a:lnTo>
                  <a:lnTo>
                    <a:pt x="480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62" y="528"/>
                  </a:lnTo>
                  <a:lnTo>
                    <a:pt x="456" y="528"/>
                  </a:lnTo>
                  <a:lnTo>
                    <a:pt x="450" y="528"/>
                  </a:lnTo>
                  <a:lnTo>
                    <a:pt x="444" y="528"/>
                  </a:lnTo>
                  <a:lnTo>
                    <a:pt x="438" y="528"/>
                  </a:lnTo>
                  <a:lnTo>
                    <a:pt x="432" y="528"/>
                  </a:lnTo>
                  <a:lnTo>
                    <a:pt x="426" y="528"/>
                  </a:lnTo>
                  <a:lnTo>
                    <a:pt x="420" y="522"/>
                  </a:lnTo>
                  <a:lnTo>
                    <a:pt x="414" y="516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402" y="510"/>
                  </a:lnTo>
                  <a:lnTo>
                    <a:pt x="396" y="510"/>
                  </a:lnTo>
                  <a:lnTo>
                    <a:pt x="390" y="504"/>
                  </a:lnTo>
                  <a:lnTo>
                    <a:pt x="378" y="504"/>
                  </a:lnTo>
                  <a:lnTo>
                    <a:pt x="372" y="510"/>
                  </a:lnTo>
                  <a:lnTo>
                    <a:pt x="360" y="516"/>
                  </a:lnTo>
                  <a:lnTo>
                    <a:pt x="348" y="516"/>
                  </a:lnTo>
                  <a:lnTo>
                    <a:pt x="348" y="522"/>
                  </a:lnTo>
                  <a:lnTo>
                    <a:pt x="342" y="522"/>
                  </a:lnTo>
                  <a:lnTo>
                    <a:pt x="336" y="522"/>
                  </a:lnTo>
                  <a:lnTo>
                    <a:pt x="330" y="516"/>
                  </a:lnTo>
                  <a:lnTo>
                    <a:pt x="324" y="504"/>
                  </a:lnTo>
                  <a:lnTo>
                    <a:pt x="312" y="492"/>
                  </a:lnTo>
                  <a:lnTo>
                    <a:pt x="306" y="486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294" y="486"/>
                  </a:lnTo>
                  <a:lnTo>
                    <a:pt x="276" y="480"/>
                  </a:lnTo>
                  <a:lnTo>
                    <a:pt x="264" y="480"/>
                  </a:lnTo>
                  <a:lnTo>
                    <a:pt x="258" y="480"/>
                  </a:lnTo>
                  <a:lnTo>
                    <a:pt x="252" y="486"/>
                  </a:lnTo>
                  <a:lnTo>
                    <a:pt x="246" y="486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34" y="480"/>
                  </a:lnTo>
                  <a:lnTo>
                    <a:pt x="216" y="486"/>
                  </a:lnTo>
                  <a:lnTo>
                    <a:pt x="198" y="498"/>
                  </a:lnTo>
                  <a:lnTo>
                    <a:pt x="198" y="516"/>
                  </a:lnTo>
                  <a:lnTo>
                    <a:pt x="198" y="522"/>
                  </a:lnTo>
                  <a:lnTo>
                    <a:pt x="192" y="528"/>
                  </a:lnTo>
                  <a:lnTo>
                    <a:pt x="186" y="534"/>
                  </a:lnTo>
                  <a:lnTo>
                    <a:pt x="180" y="540"/>
                  </a:lnTo>
                  <a:lnTo>
                    <a:pt x="174" y="546"/>
                  </a:lnTo>
                  <a:lnTo>
                    <a:pt x="174" y="558"/>
                  </a:lnTo>
                  <a:lnTo>
                    <a:pt x="174" y="564"/>
                  </a:lnTo>
                  <a:lnTo>
                    <a:pt x="174" y="570"/>
                  </a:lnTo>
                  <a:lnTo>
                    <a:pt x="174" y="576"/>
                  </a:lnTo>
                  <a:lnTo>
                    <a:pt x="174" y="582"/>
                  </a:lnTo>
                  <a:lnTo>
                    <a:pt x="168" y="588"/>
                  </a:lnTo>
                  <a:lnTo>
                    <a:pt x="168" y="582"/>
                  </a:lnTo>
                  <a:lnTo>
                    <a:pt x="162" y="576"/>
                  </a:lnTo>
                  <a:lnTo>
                    <a:pt x="156" y="576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2" y="552"/>
                  </a:lnTo>
                  <a:lnTo>
                    <a:pt x="126" y="552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64"/>
                  </a:lnTo>
                  <a:lnTo>
                    <a:pt x="114" y="564"/>
                  </a:lnTo>
                  <a:lnTo>
                    <a:pt x="114" y="570"/>
                  </a:lnTo>
                  <a:lnTo>
                    <a:pt x="114" y="576"/>
                  </a:lnTo>
                  <a:lnTo>
                    <a:pt x="108" y="576"/>
                  </a:lnTo>
                  <a:lnTo>
                    <a:pt x="114" y="576"/>
                  </a:lnTo>
                  <a:lnTo>
                    <a:pt x="96" y="558"/>
                  </a:lnTo>
                  <a:lnTo>
                    <a:pt x="96" y="552"/>
                  </a:lnTo>
                  <a:lnTo>
                    <a:pt x="102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0" y="534"/>
                  </a:lnTo>
                  <a:lnTo>
                    <a:pt x="84" y="540"/>
                  </a:lnTo>
                  <a:lnTo>
                    <a:pt x="72" y="540"/>
                  </a:lnTo>
                  <a:lnTo>
                    <a:pt x="42" y="522"/>
                  </a:lnTo>
                  <a:lnTo>
                    <a:pt x="42" y="516"/>
                  </a:lnTo>
                  <a:lnTo>
                    <a:pt x="42" y="504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2" y="498"/>
                  </a:lnTo>
                  <a:lnTo>
                    <a:pt x="42" y="492"/>
                  </a:lnTo>
                  <a:lnTo>
                    <a:pt x="36" y="492"/>
                  </a:lnTo>
                  <a:lnTo>
                    <a:pt x="30" y="492"/>
                  </a:lnTo>
                  <a:lnTo>
                    <a:pt x="30" y="486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6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0" y="438"/>
                  </a:lnTo>
                  <a:lnTo>
                    <a:pt x="0" y="432"/>
                  </a:lnTo>
                  <a:lnTo>
                    <a:pt x="6" y="426"/>
                  </a:lnTo>
                  <a:lnTo>
                    <a:pt x="6" y="42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1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453" y="964"/>
              <a:ext cx="668" cy="576"/>
            </a:xfrm>
            <a:custGeom>
              <a:avLst/>
              <a:gdLst>
                <a:gd name="T0" fmla="*/ 30 w 786"/>
                <a:gd name="T1" fmla="*/ 132 h 678"/>
                <a:gd name="T2" fmla="*/ 48 w 786"/>
                <a:gd name="T3" fmla="*/ 114 h 678"/>
                <a:gd name="T4" fmla="*/ 42 w 786"/>
                <a:gd name="T5" fmla="*/ 84 h 678"/>
                <a:gd name="T6" fmla="*/ 60 w 786"/>
                <a:gd name="T7" fmla="*/ 66 h 678"/>
                <a:gd name="T8" fmla="*/ 78 w 786"/>
                <a:gd name="T9" fmla="*/ 54 h 678"/>
                <a:gd name="T10" fmla="*/ 108 w 786"/>
                <a:gd name="T11" fmla="*/ 42 h 678"/>
                <a:gd name="T12" fmla="*/ 108 w 786"/>
                <a:gd name="T13" fmla="*/ 18 h 678"/>
                <a:gd name="T14" fmla="*/ 120 w 786"/>
                <a:gd name="T15" fmla="*/ 6 h 678"/>
                <a:gd name="T16" fmla="*/ 138 w 786"/>
                <a:gd name="T17" fmla="*/ 12 h 678"/>
                <a:gd name="T18" fmla="*/ 168 w 786"/>
                <a:gd name="T19" fmla="*/ 18 h 678"/>
                <a:gd name="T20" fmla="*/ 198 w 786"/>
                <a:gd name="T21" fmla="*/ 12 h 678"/>
                <a:gd name="T22" fmla="*/ 222 w 786"/>
                <a:gd name="T23" fmla="*/ 18 h 678"/>
                <a:gd name="T24" fmla="*/ 252 w 786"/>
                <a:gd name="T25" fmla="*/ 30 h 678"/>
                <a:gd name="T26" fmla="*/ 276 w 786"/>
                <a:gd name="T27" fmla="*/ 36 h 678"/>
                <a:gd name="T28" fmla="*/ 300 w 786"/>
                <a:gd name="T29" fmla="*/ 48 h 678"/>
                <a:gd name="T30" fmla="*/ 306 w 786"/>
                <a:gd name="T31" fmla="*/ 72 h 678"/>
                <a:gd name="T32" fmla="*/ 330 w 786"/>
                <a:gd name="T33" fmla="*/ 90 h 678"/>
                <a:gd name="T34" fmla="*/ 354 w 786"/>
                <a:gd name="T35" fmla="*/ 96 h 678"/>
                <a:gd name="T36" fmla="*/ 390 w 786"/>
                <a:gd name="T37" fmla="*/ 102 h 678"/>
                <a:gd name="T38" fmla="*/ 414 w 786"/>
                <a:gd name="T39" fmla="*/ 108 h 678"/>
                <a:gd name="T40" fmla="*/ 432 w 786"/>
                <a:gd name="T41" fmla="*/ 114 h 678"/>
                <a:gd name="T42" fmla="*/ 456 w 786"/>
                <a:gd name="T43" fmla="*/ 132 h 678"/>
                <a:gd name="T44" fmla="*/ 480 w 786"/>
                <a:gd name="T45" fmla="*/ 144 h 678"/>
                <a:gd name="T46" fmla="*/ 510 w 786"/>
                <a:gd name="T47" fmla="*/ 138 h 678"/>
                <a:gd name="T48" fmla="*/ 534 w 786"/>
                <a:gd name="T49" fmla="*/ 108 h 678"/>
                <a:gd name="T50" fmla="*/ 528 w 786"/>
                <a:gd name="T51" fmla="*/ 90 h 678"/>
                <a:gd name="T52" fmla="*/ 528 w 786"/>
                <a:gd name="T53" fmla="*/ 60 h 678"/>
                <a:gd name="T54" fmla="*/ 534 w 786"/>
                <a:gd name="T55" fmla="*/ 48 h 678"/>
                <a:gd name="T56" fmla="*/ 552 w 786"/>
                <a:gd name="T57" fmla="*/ 30 h 678"/>
                <a:gd name="T58" fmla="*/ 594 w 786"/>
                <a:gd name="T59" fmla="*/ 18 h 678"/>
                <a:gd name="T60" fmla="*/ 618 w 786"/>
                <a:gd name="T61" fmla="*/ 12 h 678"/>
                <a:gd name="T62" fmla="*/ 648 w 786"/>
                <a:gd name="T63" fmla="*/ 12 h 678"/>
                <a:gd name="T64" fmla="*/ 672 w 786"/>
                <a:gd name="T65" fmla="*/ 24 h 678"/>
                <a:gd name="T66" fmla="*/ 684 w 786"/>
                <a:gd name="T67" fmla="*/ 42 h 678"/>
                <a:gd name="T68" fmla="*/ 708 w 786"/>
                <a:gd name="T69" fmla="*/ 48 h 678"/>
                <a:gd name="T70" fmla="*/ 732 w 786"/>
                <a:gd name="T71" fmla="*/ 54 h 678"/>
                <a:gd name="T72" fmla="*/ 762 w 786"/>
                <a:gd name="T73" fmla="*/ 54 h 678"/>
                <a:gd name="T74" fmla="*/ 780 w 786"/>
                <a:gd name="T75" fmla="*/ 66 h 678"/>
                <a:gd name="T76" fmla="*/ 786 w 786"/>
                <a:gd name="T77" fmla="*/ 78 h 678"/>
                <a:gd name="T78" fmla="*/ 774 w 786"/>
                <a:gd name="T79" fmla="*/ 96 h 678"/>
                <a:gd name="T80" fmla="*/ 780 w 786"/>
                <a:gd name="T81" fmla="*/ 120 h 678"/>
                <a:gd name="T82" fmla="*/ 762 w 786"/>
                <a:gd name="T83" fmla="*/ 150 h 678"/>
                <a:gd name="T84" fmla="*/ 774 w 786"/>
                <a:gd name="T85" fmla="*/ 180 h 678"/>
                <a:gd name="T86" fmla="*/ 780 w 786"/>
                <a:gd name="T87" fmla="*/ 192 h 678"/>
                <a:gd name="T88" fmla="*/ 690 w 786"/>
                <a:gd name="T89" fmla="*/ 660 h 678"/>
                <a:gd name="T90" fmla="*/ 582 w 786"/>
                <a:gd name="T91" fmla="*/ 606 h 678"/>
                <a:gd name="T92" fmla="*/ 432 w 786"/>
                <a:gd name="T93" fmla="*/ 534 h 678"/>
                <a:gd name="T94" fmla="*/ 312 w 786"/>
                <a:gd name="T95" fmla="*/ 492 h 678"/>
                <a:gd name="T96" fmla="*/ 204 w 786"/>
                <a:gd name="T97" fmla="*/ 498 h 678"/>
                <a:gd name="T98" fmla="*/ 168 w 786"/>
                <a:gd name="T99" fmla="*/ 486 h 678"/>
                <a:gd name="T100" fmla="*/ 114 w 786"/>
                <a:gd name="T101" fmla="*/ 444 h 678"/>
                <a:gd name="T102" fmla="*/ 78 w 786"/>
                <a:gd name="T103" fmla="*/ 432 h 678"/>
                <a:gd name="T104" fmla="*/ 42 w 786"/>
                <a:gd name="T105" fmla="*/ 420 h 678"/>
                <a:gd name="T106" fmla="*/ 0 w 786"/>
                <a:gd name="T107" fmla="*/ 348 h 678"/>
                <a:gd name="T108" fmla="*/ 18 w 786"/>
                <a:gd name="T109" fmla="*/ 336 h 678"/>
                <a:gd name="T110" fmla="*/ 24 w 786"/>
                <a:gd name="T111" fmla="*/ 312 h 678"/>
                <a:gd name="T112" fmla="*/ 24 w 786"/>
                <a:gd name="T113" fmla="*/ 282 h 678"/>
                <a:gd name="T114" fmla="*/ 24 w 786"/>
                <a:gd name="T115" fmla="*/ 252 h 678"/>
                <a:gd name="T116" fmla="*/ 30 w 786"/>
                <a:gd name="T117" fmla="*/ 216 h 678"/>
                <a:gd name="T118" fmla="*/ 12 w 786"/>
                <a:gd name="T119" fmla="*/ 162 h 678"/>
                <a:gd name="T120" fmla="*/ 12 w 786"/>
                <a:gd name="T121" fmla="*/ 144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6"/>
                <a:gd name="T184" fmla="*/ 0 h 678"/>
                <a:gd name="T185" fmla="*/ 786 w 786"/>
                <a:gd name="T186" fmla="*/ 678 h 6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376" y="785"/>
              <a:ext cx="174" cy="301"/>
            </a:xfrm>
            <a:custGeom>
              <a:avLst/>
              <a:gdLst>
                <a:gd name="T0" fmla="*/ 66 w 204"/>
                <a:gd name="T1" fmla="*/ 18 h 354"/>
                <a:gd name="T2" fmla="*/ 84 w 204"/>
                <a:gd name="T3" fmla="*/ 6 h 354"/>
                <a:gd name="T4" fmla="*/ 108 w 204"/>
                <a:gd name="T5" fmla="*/ 0 h 354"/>
                <a:gd name="T6" fmla="*/ 114 w 204"/>
                <a:gd name="T7" fmla="*/ 6 h 354"/>
                <a:gd name="T8" fmla="*/ 114 w 204"/>
                <a:gd name="T9" fmla="*/ 6 h 354"/>
                <a:gd name="T10" fmla="*/ 132 w 204"/>
                <a:gd name="T11" fmla="*/ 12 h 354"/>
                <a:gd name="T12" fmla="*/ 138 w 204"/>
                <a:gd name="T13" fmla="*/ 24 h 354"/>
                <a:gd name="T14" fmla="*/ 150 w 204"/>
                <a:gd name="T15" fmla="*/ 30 h 354"/>
                <a:gd name="T16" fmla="*/ 168 w 204"/>
                <a:gd name="T17" fmla="*/ 18 h 354"/>
                <a:gd name="T18" fmla="*/ 180 w 204"/>
                <a:gd name="T19" fmla="*/ 24 h 354"/>
                <a:gd name="T20" fmla="*/ 168 w 204"/>
                <a:gd name="T21" fmla="*/ 42 h 354"/>
                <a:gd name="T22" fmla="*/ 150 w 204"/>
                <a:gd name="T23" fmla="*/ 48 h 354"/>
                <a:gd name="T24" fmla="*/ 144 w 204"/>
                <a:gd name="T25" fmla="*/ 66 h 354"/>
                <a:gd name="T26" fmla="*/ 162 w 204"/>
                <a:gd name="T27" fmla="*/ 78 h 354"/>
                <a:gd name="T28" fmla="*/ 174 w 204"/>
                <a:gd name="T29" fmla="*/ 90 h 354"/>
                <a:gd name="T30" fmla="*/ 174 w 204"/>
                <a:gd name="T31" fmla="*/ 108 h 354"/>
                <a:gd name="T32" fmla="*/ 168 w 204"/>
                <a:gd name="T33" fmla="*/ 126 h 354"/>
                <a:gd name="T34" fmla="*/ 150 w 204"/>
                <a:gd name="T35" fmla="*/ 138 h 354"/>
                <a:gd name="T36" fmla="*/ 138 w 204"/>
                <a:gd name="T37" fmla="*/ 144 h 354"/>
                <a:gd name="T38" fmla="*/ 126 w 204"/>
                <a:gd name="T39" fmla="*/ 156 h 354"/>
                <a:gd name="T40" fmla="*/ 132 w 204"/>
                <a:gd name="T41" fmla="*/ 174 h 354"/>
                <a:gd name="T42" fmla="*/ 138 w 204"/>
                <a:gd name="T43" fmla="*/ 180 h 354"/>
                <a:gd name="T44" fmla="*/ 156 w 204"/>
                <a:gd name="T45" fmla="*/ 180 h 354"/>
                <a:gd name="T46" fmla="*/ 162 w 204"/>
                <a:gd name="T47" fmla="*/ 186 h 354"/>
                <a:gd name="T48" fmla="*/ 168 w 204"/>
                <a:gd name="T49" fmla="*/ 192 h 354"/>
                <a:gd name="T50" fmla="*/ 180 w 204"/>
                <a:gd name="T51" fmla="*/ 198 h 354"/>
                <a:gd name="T52" fmla="*/ 180 w 204"/>
                <a:gd name="T53" fmla="*/ 210 h 354"/>
                <a:gd name="T54" fmla="*/ 186 w 204"/>
                <a:gd name="T55" fmla="*/ 204 h 354"/>
                <a:gd name="T56" fmla="*/ 198 w 204"/>
                <a:gd name="T57" fmla="*/ 216 h 354"/>
                <a:gd name="T58" fmla="*/ 198 w 204"/>
                <a:gd name="T59" fmla="*/ 240 h 354"/>
                <a:gd name="T60" fmla="*/ 192 w 204"/>
                <a:gd name="T61" fmla="*/ 252 h 354"/>
                <a:gd name="T62" fmla="*/ 168 w 204"/>
                <a:gd name="T63" fmla="*/ 264 h 354"/>
                <a:gd name="T64" fmla="*/ 156 w 204"/>
                <a:gd name="T65" fmla="*/ 276 h 354"/>
                <a:gd name="T66" fmla="*/ 138 w 204"/>
                <a:gd name="T67" fmla="*/ 282 h 354"/>
                <a:gd name="T68" fmla="*/ 132 w 204"/>
                <a:gd name="T69" fmla="*/ 306 h 354"/>
                <a:gd name="T70" fmla="*/ 132 w 204"/>
                <a:gd name="T71" fmla="*/ 330 h 354"/>
                <a:gd name="T72" fmla="*/ 120 w 204"/>
                <a:gd name="T73" fmla="*/ 342 h 354"/>
                <a:gd name="T74" fmla="*/ 102 w 204"/>
                <a:gd name="T75" fmla="*/ 354 h 354"/>
                <a:gd name="T76" fmla="*/ 78 w 204"/>
                <a:gd name="T77" fmla="*/ 276 h 354"/>
                <a:gd name="T78" fmla="*/ 42 w 204"/>
                <a:gd name="T79" fmla="*/ 234 h 354"/>
                <a:gd name="T80" fmla="*/ 18 w 204"/>
                <a:gd name="T81" fmla="*/ 210 h 354"/>
                <a:gd name="T82" fmla="*/ 6 w 204"/>
                <a:gd name="T83" fmla="*/ 192 h 354"/>
                <a:gd name="T84" fmla="*/ 0 w 204"/>
                <a:gd name="T85" fmla="*/ 168 h 354"/>
                <a:gd name="T86" fmla="*/ 12 w 204"/>
                <a:gd name="T87" fmla="*/ 156 h 354"/>
                <a:gd name="T88" fmla="*/ 30 w 204"/>
                <a:gd name="T89" fmla="*/ 138 h 354"/>
                <a:gd name="T90" fmla="*/ 36 w 204"/>
                <a:gd name="T91" fmla="*/ 120 h 354"/>
                <a:gd name="T92" fmla="*/ 48 w 204"/>
                <a:gd name="T93" fmla="*/ 108 h 354"/>
                <a:gd name="T94" fmla="*/ 42 w 204"/>
                <a:gd name="T95" fmla="*/ 96 h 354"/>
                <a:gd name="T96" fmla="*/ 36 w 204"/>
                <a:gd name="T97" fmla="*/ 78 h 354"/>
                <a:gd name="T98" fmla="*/ 42 w 204"/>
                <a:gd name="T99" fmla="*/ 60 h 354"/>
                <a:gd name="T100" fmla="*/ 42 w 204"/>
                <a:gd name="T101" fmla="*/ 48 h 354"/>
                <a:gd name="T102" fmla="*/ 36 w 204"/>
                <a:gd name="T103" fmla="*/ 42 h 354"/>
                <a:gd name="T104" fmla="*/ 48 w 204"/>
                <a:gd name="T105" fmla="*/ 30 h 354"/>
                <a:gd name="T106" fmla="*/ 54 w 204"/>
                <a:gd name="T107" fmla="*/ 24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4"/>
                <a:gd name="T163" fmla="*/ 0 h 354"/>
                <a:gd name="T164" fmla="*/ 204 w 204"/>
                <a:gd name="T165" fmla="*/ 354 h 3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1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316" y="1657"/>
              <a:ext cx="265" cy="189"/>
            </a:xfrm>
            <a:custGeom>
              <a:avLst/>
              <a:gdLst>
                <a:gd name="T0" fmla="*/ 54 w 312"/>
                <a:gd name="T1" fmla="*/ 30 h 222"/>
                <a:gd name="T2" fmla="*/ 66 w 312"/>
                <a:gd name="T3" fmla="*/ 12 h 222"/>
                <a:gd name="T4" fmla="*/ 78 w 312"/>
                <a:gd name="T5" fmla="*/ 12 h 222"/>
                <a:gd name="T6" fmla="*/ 102 w 312"/>
                <a:gd name="T7" fmla="*/ 12 h 222"/>
                <a:gd name="T8" fmla="*/ 108 w 312"/>
                <a:gd name="T9" fmla="*/ 6 h 222"/>
                <a:gd name="T10" fmla="*/ 120 w 312"/>
                <a:gd name="T11" fmla="*/ 6 h 222"/>
                <a:gd name="T12" fmla="*/ 126 w 312"/>
                <a:gd name="T13" fmla="*/ 0 h 222"/>
                <a:gd name="T14" fmla="*/ 144 w 312"/>
                <a:gd name="T15" fmla="*/ 6 h 222"/>
                <a:gd name="T16" fmla="*/ 168 w 312"/>
                <a:gd name="T17" fmla="*/ 6 h 222"/>
                <a:gd name="T18" fmla="*/ 180 w 312"/>
                <a:gd name="T19" fmla="*/ 18 h 222"/>
                <a:gd name="T20" fmla="*/ 192 w 312"/>
                <a:gd name="T21" fmla="*/ 30 h 222"/>
                <a:gd name="T22" fmla="*/ 210 w 312"/>
                <a:gd name="T23" fmla="*/ 42 h 222"/>
                <a:gd name="T24" fmla="*/ 222 w 312"/>
                <a:gd name="T25" fmla="*/ 60 h 222"/>
                <a:gd name="T26" fmla="*/ 228 w 312"/>
                <a:gd name="T27" fmla="*/ 66 h 222"/>
                <a:gd name="T28" fmla="*/ 246 w 312"/>
                <a:gd name="T29" fmla="*/ 84 h 222"/>
                <a:gd name="T30" fmla="*/ 258 w 312"/>
                <a:gd name="T31" fmla="*/ 96 h 222"/>
                <a:gd name="T32" fmla="*/ 270 w 312"/>
                <a:gd name="T33" fmla="*/ 108 h 222"/>
                <a:gd name="T34" fmla="*/ 270 w 312"/>
                <a:gd name="T35" fmla="*/ 120 h 222"/>
                <a:gd name="T36" fmla="*/ 276 w 312"/>
                <a:gd name="T37" fmla="*/ 138 h 222"/>
                <a:gd name="T38" fmla="*/ 276 w 312"/>
                <a:gd name="T39" fmla="*/ 156 h 222"/>
                <a:gd name="T40" fmla="*/ 294 w 312"/>
                <a:gd name="T41" fmla="*/ 168 h 222"/>
                <a:gd name="T42" fmla="*/ 306 w 312"/>
                <a:gd name="T43" fmla="*/ 180 h 222"/>
                <a:gd name="T44" fmla="*/ 306 w 312"/>
                <a:gd name="T45" fmla="*/ 198 h 222"/>
                <a:gd name="T46" fmla="*/ 306 w 312"/>
                <a:gd name="T47" fmla="*/ 216 h 222"/>
                <a:gd name="T48" fmla="*/ 282 w 312"/>
                <a:gd name="T49" fmla="*/ 216 h 222"/>
                <a:gd name="T50" fmla="*/ 264 w 312"/>
                <a:gd name="T51" fmla="*/ 222 h 222"/>
                <a:gd name="T52" fmla="*/ 246 w 312"/>
                <a:gd name="T53" fmla="*/ 216 h 222"/>
                <a:gd name="T54" fmla="*/ 228 w 312"/>
                <a:gd name="T55" fmla="*/ 210 h 222"/>
                <a:gd name="T56" fmla="*/ 216 w 312"/>
                <a:gd name="T57" fmla="*/ 204 h 222"/>
                <a:gd name="T58" fmla="*/ 138 w 312"/>
                <a:gd name="T59" fmla="*/ 204 h 222"/>
                <a:gd name="T60" fmla="*/ 108 w 312"/>
                <a:gd name="T61" fmla="*/ 210 h 222"/>
                <a:gd name="T62" fmla="*/ 78 w 312"/>
                <a:gd name="T63" fmla="*/ 210 h 222"/>
                <a:gd name="T64" fmla="*/ 54 w 312"/>
                <a:gd name="T65" fmla="*/ 216 h 222"/>
                <a:gd name="T66" fmla="*/ 48 w 312"/>
                <a:gd name="T67" fmla="*/ 210 h 222"/>
                <a:gd name="T68" fmla="*/ 60 w 312"/>
                <a:gd name="T69" fmla="*/ 204 h 222"/>
                <a:gd name="T70" fmla="*/ 42 w 312"/>
                <a:gd name="T71" fmla="*/ 210 h 222"/>
                <a:gd name="T72" fmla="*/ 42 w 312"/>
                <a:gd name="T73" fmla="*/ 198 h 222"/>
                <a:gd name="T74" fmla="*/ 60 w 312"/>
                <a:gd name="T75" fmla="*/ 180 h 222"/>
                <a:gd name="T76" fmla="*/ 96 w 312"/>
                <a:gd name="T77" fmla="*/ 168 h 222"/>
                <a:gd name="T78" fmla="*/ 120 w 312"/>
                <a:gd name="T79" fmla="*/ 168 h 222"/>
                <a:gd name="T80" fmla="*/ 126 w 312"/>
                <a:gd name="T81" fmla="*/ 162 h 222"/>
                <a:gd name="T82" fmla="*/ 144 w 312"/>
                <a:gd name="T83" fmla="*/ 168 h 222"/>
                <a:gd name="T84" fmla="*/ 162 w 312"/>
                <a:gd name="T85" fmla="*/ 174 h 222"/>
                <a:gd name="T86" fmla="*/ 180 w 312"/>
                <a:gd name="T87" fmla="*/ 168 h 222"/>
                <a:gd name="T88" fmla="*/ 174 w 312"/>
                <a:gd name="T89" fmla="*/ 156 h 222"/>
                <a:gd name="T90" fmla="*/ 156 w 312"/>
                <a:gd name="T91" fmla="*/ 156 h 222"/>
                <a:gd name="T92" fmla="*/ 138 w 312"/>
                <a:gd name="T93" fmla="*/ 150 h 222"/>
                <a:gd name="T94" fmla="*/ 120 w 312"/>
                <a:gd name="T95" fmla="*/ 150 h 222"/>
                <a:gd name="T96" fmla="*/ 108 w 312"/>
                <a:gd name="T97" fmla="*/ 150 h 222"/>
                <a:gd name="T98" fmla="*/ 48 w 312"/>
                <a:gd name="T99" fmla="*/ 156 h 222"/>
                <a:gd name="T100" fmla="*/ 48 w 312"/>
                <a:gd name="T101" fmla="*/ 144 h 222"/>
                <a:gd name="T102" fmla="*/ 42 w 312"/>
                <a:gd name="T103" fmla="*/ 138 h 222"/>
                <a:gd name="T104" fmla="*/ 36 w 312"/>
                <a:gd name="T105" fmla="*/ 132 h 222"/>
                <a:gd name="T106" fmla="*/ 30 w 312"/>
                <a:gd name="T107" fmla="*/ 114 h 222"/>
                <a:gd name="T108" fmla="*/ 18 w 312"/>
                <a:gd name="T109" fmla="*/ 102 h 222"/>
                <a:gd name="T110" fmla="*/ 6 w 312"/>
                <a:gd name="T111" fmla="*/ 96 h 222"/>
                <a:gd name="T112" fmla="*/ 30 w 312"/>
                <a:gd name="T113" fmla="*/ 84 h 222"/>
                <a:gd name="T114" fmla="*/ 48 w 312"/>
                <a:gd name="T115" fmla="*/ 60 h 222"/>
                <a:gd name="T116" fmla="*/ 54 w 312"/>
                <a:gd name="T117" fmla="*/ 36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12"/>
                <a:gd name="T178" fmla="*/ 0 h 222"/>
                <a:gd name="T179" fmla="*/ 312 w 312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12" h="222">
                  <a:moveTo>
                    <a:pt x="54" y="36"/>
                  </a:move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28" y="66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40" y="78"/>
                  </a:lnTo>
                  <a:lnTo>
                    <a:pt x="246" y="84"/>
                  </a:lnTo>
                  <a:lnTo>
                    <a:pt x="252" y="84"/>
                  </a:lnTo>
                  <a:lnTo>
                    <a:pt x="252" y="90"/>
                  </a:lnTo>
                  <a:lnTo>
                    <a:pt x="258" y="90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70" y="114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76" y="150"/>
                  </a:lnTo>
                  <a:lnTo>
                    <a:pt x="276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68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74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06" y="186"/>
                  </a:lnTo>
                  <a:lnTo>
                    <a:pt x="312" y="186"/>
                  </a:lnTo>
                  <a:lnTo>
                    <a:pt x="306" y="192"/>
                  </a:lnTo>
                  <a:lnTo>
                    <a:pt x="306" y="198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0"/>
                  </a:lnTo>
                  <a:lnTo>
                    <a:pt x="306" y="216"/>
                  </a:lnTo>
                  <a:lnTo>
                    <a:pt x="300" y="216"/>
                  </a:lnTo>
                  <a:lnTo>
                    <a:pt x="294" y="216"/>
                  </a:lnTo>
                  <a:lnTo>
                    <a:pt x="288" y="216"/>
                  </a:lnTo>
                  <a:lnTo>
                    <a:pt x="282" y="216"/>
                  </a:lnTo>
                  <a:lnTo>
                    <a:pt x="276" y="216"/>
                  </a:lnTo>
                  <a:lnTo>
                    <a:pt x="270" y="216"/>
                  </a:lnTo>
                  <a:lnTo>
                    <a:pt x="264" y="216"/>
                  </a:lnTo>
                  <a:lnTo>
                    <a:pt x="264" y="222"/>
                  </a:lnTo>
                  <a:lnTo>
                    <a:pt x="258" y="222"/>
                  </a:lnTo>
                  <a:lnTo>
                    <a:pt x="258" y="216"/>
                  </a:lnTo>
                  <a:lnTo>
                    <a:pt x="252" y="216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10"/>
                  </a:lnTo>
                  <a:lnTo>
                    <a:pt x="228" y="210"/>
                  </a:lnTo>
                  <a:lnTo>
                    <a:pt x="222" y="210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3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4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96" y="216"/>
                  </a:lnTo>
                  <a:lnTo>
                    <a:pt x="84" y="216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8" y="204"/>
                  </a:lnTo>
                  <a:lnTo>
                    <a:pt x="42" y="204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90" y="180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38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56"/>
                  </a:lnTo>
                  <a:lnTo>
                    <a:pt x="174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56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132" y="144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50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0" y="156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48" y="144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2" y="102"/>
                  </a:lnTo>
                  <a:lnTo>
                    <a:pt x="6" y="102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66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1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428" y="1830"/>
              <a:ext cx="306" cy="230"/>
            </a:xfrm>
            <a:custGeom>
              <a:avLst/>
              <a:gdLst>
                <a:gd name="T0" fmla="*/ 18 w 360"/>
                <a:gd name="T1" fmla="*/ 54 h 270"/>
                <a:gd name="T2" fmla="*/ 54 w 360"/>
                <a:gd name="T3" fmla="*/ 42 h 270"/>
                <a:gd name="T4" fmla="*/ 54 w 360"/>
                <a:gd name="T5" fmla="*/ 30 h 270"/>
                <a:gd name="T6" fmla="*/ 66 w 360"/>
                <a:gd name="T7" fmla="*/ 18 h 270"/>
                <a:gd name="T8" fmla="*/ 78 w 360"/>
                <a:gd name="T9" fmla="*/ 0 h 270"/>
                <a:gd name="T10" fmla="*/ 102 w 360"/>
                <a:gd name="T11" fmla="*/ 6 h 270"/>
                <a:gd name="T12" fmla="*/ 126 w 360"/>
                <a:gd name="T13" fmla="*/ 18 h 270"/>
                <a:gd name="T14" fmla="*/ 156 w 360"/>
                <a:gd name="T15" fmla="*/ 12 h 270"/>
                <a:gd name="T16" fmla="*/ 168 w 360"/>
                <a:gd name="T17" fmla="*/ 24 h 270"/>
                <a:gd name="T18" fmla="*/ 192 w 360"/>
                <a:gd name="T19" fmla="*/ 18 h 270"/>
                <a:gd name="T20" fmla="*/ 210 w 360"/>
                <a:gd name="T21" fmla="*/ 30 h 270"/>
                <a:gd name="T22" fmla="*/ 228 w 360"/>
                <a:gd name="T23" fmla="*/ 24 h 270"/>
                <a:gd name="T24" fmla="*/ 246 w 360"/>
                <a:gd name="T25" fmla="*/ 24 h 270"/>
                <a:gd name="T26" fmla="*/ 264 w 360"/>
                <a:gd name="T27" fmla="*/ 24 h 270"/>
                <a:gd name="T28" fmla="*/ 276 w 360"/>
                <a:gd name="T29" fmla="*/ 12 h 270"/>
                <a:gd name="T30" fmla="*/ 288 w 360"/>
                <a:gd name="T31" fmla="*/ 12 h 270"/>
                <a:gd name="T32" fmla="*/ 306 w 360"/>
                <a:gd name="T33" fmla="*/ 30 h 270"/>
                <a:gd name="T34" fmla="*/ 312 w 360"/>
                <a:gd name="T35" fmla="*/ 54 h 270"/>
                <a:gd name="T36" fmla="*/ 318 w 360"/>
                <a:gd name="T37" fmla="*/ 72 h 270"/>
                <a:gd name="T38" fmla="*/ 324 w 360"/>
                <a:gd name="T39" fmla="*/ 78 h 270"/>
                <a:gd name="T40" fmla="*/ 330 w 360"/>
                <a:gd name="T41" fmla="*/ 108 h 270"/>
                <a:gd name="T42" fmla="*/ 342 w 360"/>
                <a:gd name="T43" fmla="*/ 126 h 270"/>
                <a:gd name="T44" fmla="*/ 336 w 360"/>
                <a:gd name="T45" fmla="*/ 138 h 270"/>
                <a:gd name="T46" fmla="*/ 336 w 360"/>
                <a:gd name="T47" fmla="*/ 150 h 270"/>
                <a:gd name="T48" fmla="*/ 354 w 360"/>
                <a:gd name="T49" fmla="*/ 156 h 270"/>
                <a:gd name="T50" fmla="*/ 360 w 360"/>
                <a:gd name="T51" fmla="*/ 174 h 270"/>
                <a:gd name="T52" fmla="*/ 354 w 360"/>
                <a:gd name="T53" fmla="*/ 192 h 270"/>
                <a:gd name="T54" fmla="*/ 354 w 360"/>
                <a:gd name="T55" fmla="*/ 210 h 270"/>
                <a:gd name="T56" fmla="*/ 336 w 360"/>
                <a:gd name="T57" fmla="*/ 204 h 270"/>
                <a:gd name="T58" fmla="*/ 336 w 360"/>
                <a:gd name="T59" fmla="*/ 216 h 270"/>
                <a:gd name="T60" fmla="*/ 348 w 360"/>
                <a:gd name="T61" fmla="*/ 228 h 270"/>
                <a:gd name="T62" fmla="*/ 342 w 360"/>
                <a:gd name="T63" fmla="*/ 246 h 270"/>
                <a:gd name="T64" fmla="*/ 318 w 360"/>
                <a:gd name="T65" fmla="*/ 246 h 270"/>
                <a:gd name="T66" fmla="*/ 306 w 360"/>
                <a:gd name="T67" fmla="*/ 264 h 270"/>
                <a:gd name="T68" fmla="*/ 288 w 360"/>
                <a:gd name="T69" fmla="*/ 270 h 270"/>
                <a:gd name="T70" fmla="*/ 270 w 360"/>
                <a:gd name="T71" fmla="*/ 264 h 270"/>
                <a:gd name="T72" fmla="*/ 276 w 360"/>
                <a:gd name="T73" fmla="*/ 234 h 270"/>
                <a:gd name="T74" fmla="*/ 264 w 360"/>
                <a:gd name="T75" fmla="*/ 210 h 270"/>
                <a:gd name="T76" fmla="*/ 258 w 360"/>
                <a:gd name="T77" fmla="*/ 204 h 270"/>
                <a:gd name="T78" fmla="*/ 234 w 360"/>
                <a:gd name="T79" fmla="*/ 204 h 270"/>
                <a:gd name="T80" fmla="*/ 210 w 360"/>
                <a:gd name="T81" fmla="*/ 216 h 270"/>
                <a:gd name="T82" fmla="*/ 222 w 360"/>
                <a:gd name="T83" fmla="*/ 192 h 270"/>
                <a:gd name="T84" fmla="*/ 210 w 360"/>
                <a:gd name="T85" fmla="*/ 168 h 270"/>
                <a:gd name="T86" fmla="*/ 198 w 360"/>
                <a:gd name="T87" fmla="*/ 144 h 270"/>
                <a:gd name="T88" fmla="*/ 138 w 360"/>
                <a:gd name="T89" fmla="*/ 132 h 270"/>
                <a:gd name="T90" fmla="*/ 120 w 360"/>
                <a:gd name="T91" fmla="*/ 150 h 270"/>
                <a:gd name="T92" fmla="*/ 102 w 360"/>
                <a:gd name="T93" fmla="*/ 168 h 270"/>
                <a:gd name="T94" fmla="*/ 84 w 360"/>
                <a:gd name="T95" fmla="*/ 174 h 270"/>
                <a:gd name="T96" fmla="*/ 78 w 360"/>
                <a:gd name="T97" fmla="*/ 174 h 270"/>
                <a:gd name="T98" fmla="*/ 72 w 360"/>
                <a:gd name="T99" fmla="*/ 162 h 270"/>
                <a:gd name="T100" fmla="*/ 60 w 360"/>
                <a:gd name="T101" fmla="*/ 150 h 270"/>
                <a:gd name="T102" fmla="*/ 60 w 360"/>
                <a:gd name="T103" fmla="*/ 138 h 270"/>
                <a:gd name="T104" fmla="*/ 42 w 360"/>
                <a:gd name="T105" fmla="*/ 126 h 270"/>
                <a:gd name="T106" fmla="*/ 30 w 360"/>
                <a:gd name="T107" fmla="*/ 120 h 270"/>
                <a:gd name="T108" fmla="*/ 12 w 360"/>
                <a:gd name="T109" fmla="*/ 102 h 270"/>
                <a:gd name="T110" fmla="*/ 12 w 360"/>
                <a:gd name="T111" fmla="*/ 102 h 270"/>
                <a:gd name="T112" fmla="*/ 6 w 360"/>
                <a:gd name="T113" fmla="*/ 84 h 270"/>
                <a:gd name="T114" fmla="*/ 0 w 360"/>
                <a:gd name="T115" fmla="*/ 78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60"/>
                <a:gd name="T175" fmla="*/ 0 h 270"/>
                <a:gd name="T176" fmla="*/ 360 w 360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60" h="270">
                  <a:moveTo>
                    <a:pt x="0" y="78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204" y="24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94" y="24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306" y="30"/>
                  </a:lnTo>
                  <a:lnTo>
                    <a:pt x="306" y="36"/>
                  </a:lnTo>
                  <a:lnTo>
                    <a:pt x="306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54"/>
                  </a:lnTo>
                  <a:lnTo>
                    <a:pt x="312" y="60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18" y="66"/>
                  </a:lnTo>
                  <a:lnTo>
                    <a:pt x="318" y="72"/>
                  </a:lnTo>
                  <a:lnTo>
                    <a:pt x="312" y="72"/>
                  </a:lnTo>
                  <a:lnTo>
                    <a:pt x="312" y="78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0" y="102"/>
                  </a:lnTo>
                  <a:lnTo>
                    <a:pt x="330" y="108"/>
                  </a:lnTo>
                  <a:lnTo>
                    <a:pt x="336" y="108"/>
                  </a:lnTo>
                  <a:lnTo>
                    <a:pt x="336" y="114"/>
                  </a:lnTo>
                  <a:lnTo>
                    <a:pt x="342" y="114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2" y="162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48" y="162"/>
                  </a:lnTo>
                  <a:lnTo>
                    <a:pt x="348" y="168"/>
                  </a:lnTo>
                  <a:lnTo>
                    <a:pt x="348" y="174"/>
                  </a:lnTo>
                  <a:lnTo>
                    <a:pt x="354" y="174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8" y="186"/>
                  </a:lnTo>
                  <a:lnTo>
                    <a:pt x="348" y="192"/>
                  </a:lnTo>
                  <a:lnTo>
                    <a:pt x="354" y="192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36" y="210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34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36" y="246"/>
                  </a:lnTo>
                  <a:lnTo>
                    <a:pt x="336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2" y="246"/>
                  </a:lnTo>
                  <a:lnTo>
                    <a:pt x="306" y="252"/>
                  </a:lnTo>
                  <a:lnTo>
                    <a:pt x="312" y="252"/>
                  </a:lnTo>
                  <a:lnTo>
                    <a:pt x="306" y="258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2" y="264"/>
                  </a:lnTo>
                  <a:lnTo>
                    <a:pt x="282" y="258"/>
                  </a:lnTo>
                  <a:lnTo>
                    <a:pt x="276" y="258"/>
                  </a:lnTo>
                  <a:lnTo>
                    <a:pt x="270" y="258"/>
                  </a:lnTo>
                  <a:lnTo>
                    <a:pt x="270" y="264"/>
                  </a:lnTo>
                  <a:lnTo>
                    <a:pt x="270" y="258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6" y="240"/>
                  </a:lnTo>
                  <a:lnTo>
                    <a:pt x="276" y="234"/>
                  </a:lnTo>
                  <a:lnTo>
                    <a:pt x="276" y="228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70" y="216"/>
                  </a:lnTo>
                  <a:lnTo>
                    <a:pt x="270" y="210"/>
                  </a:lnTo>
                  <a:lnTo>
                    <a:pt x="264" y="210"/>
                  </a:lnTo>
                  <a:lnTo>
                    <a:pt x="264" y="204"/>
                  </a:lnTo>
                  <a:lnTo>
                    <a:pt x="258" y="204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46" y="204"/>
                  </a:lnTo>
                  <a:lnTo>
                    <a:pt x="246" y="210"/>
                  </a:lnTo>
                  <a:lnTo>
                    <a:pt x="240" y="210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10"/>
                  </a:lnTo>
                  <a:lnTo>
                    <a:pt x="222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38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50" y="132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84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15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494" y="1943"/>
              <a:ext cx="128" cy="127"/>
            </a:xfrm>
            <a:custGeom>
              <a:avLst/>
              <a:gdLst>
                <a:gd name="T0" fmla="*/ 12 w 150"/>
                <a:gd name="T1" fmla="*/ 42 h 150"/>
                <a:gd name="T2" fmla="*/ 18 w 150"/>
                <a:gd name="T3" fmla="*/ 42 h 150"/>
                <a:gd name="T4" fmla="*/ 30 w 150"/>
                <a:gd name="T5" fmla="*/ 36 h 150"/>
                <a:gd name="T6" fmla="*/ 36 w 150"/>
                <a:gd name="T7" fmla="*/ 24 h 150"/>
                <a:gd name="T8" fmla="*/ 42 w 150"/>
                <a:gd name="T9" fmla="*/ 12 h 150"/>
                <a:gd name="T10" fmla="*/ 54 w 150"/>
                <a:gd name="T11" fmla="*/ 6 h 150"/>
                <a:gd name="T12" fmla="*/ 60 w 150"/>
                <a:gd name="T13" fmla="*/ 6 h 150"/>
                <a:gd name="T14" fmla="*/ 108 w 150"/>
                <a:gd name="T15" fmla="*/ 6 h 150"/>
                <a:gd name="T16" fmla="*/ 120 w 150"/>
                <a:gd name="T17" fmla="*/ 18 h 150"/>
                <a:gd name="T18" fmla="*/ 126 w 150"/>
                <a:gd name="T19" fmla="*/ 30 h 150"/>
                <a:gd name="T20" fmla="*/ 132 w 150"/>
                <a:gd name="T21" fmla="*/ 42 h 150"/>
                <a:gd name="T22" fmla="*/ 138 w 150"/>
                <a:gd name="T23" fmla="*/ 54 h 150"/>
                <a:gd name="T24" fmla="*/ 144 w 150"/>
                <a:gd name="T25" fmla="*/ 66 h 150"/>
                <a:gd name="T26" fmla="*/ 132 w 150"/>
                <a:gd name="T27" fmla="*/ 72 h 150"/>
                <a:gd name="T28" fmla="*/ 132 w 150"/>
                <a:gd name="T29" fmla="*/ 78 h 150"/>
                <a:gd name="T30" fmla="*/ 144 w 150"/>
                <a:gd name="T31" fmla="*/ 78 h 150"/>
                <a:gd name="T32" fmla="*/ 150 w 150"/>
                <a:gd name="T33" fmla="*/ 84 h 150"/>
                <a:gd name="T34" fmla="*/ 138 w 150"/>
                <a:gd name="T35" fmla="*/ 96 h 150"/>
                <a:gd name="T36" fmla="*/ 132 w 150"/>
                <a:gd name="T37" fmla="*/ 114 h 150"/>
                <a:gd name="T38" fmla="*/ 120 w 150"/>
                <a:gd name="T39" fmla="*/ 120 h 150"/>
                <a:gd name="T40" fmla="*/ 108 w 150"/>
                <a:gd name="T41" fmla="*/ 132 h 150"/>
                <a:gd name="T42" fmla="*/ 102 w 150"/>
                <a:gd name="T43" fmla="*/ 144 h 150"/>
                <a:gd name="T44" fmla="*/ 84 w 150"/>
                <a:gd name="T45" fmla="*/ 144 h 150"/>
                <a:gd name="T46" fmla="*/ 54 w 150"/>
                <a:gd name="T47" fmla="*/ 132 h 150"/>
                <a:gd name="T48" fmla="*/ 48 w 150"/>
                <a:gd name="T49" fmla="*/ 126 h 150"/>
                <a:gd name="T50" fmla="*/ 42 w 150"/>
                <a:gd name="T51" fmla="*/ 126 h 150"/>
                <a:gd name="T52" fmla="*/ 48 w 150"/>
                <a:gd name="T53" fmla="*/ 120 h 150"/>
                <a:gd name="T54" fmla="*/ 48 w 150"/>
                <a:gd name="T55" fmla="*/ 114 h 150"/>
                <a:gd name="T56" fmla="*/ 42 w 150"/>
                <a:gd name="T57" fmla="*/ 114 h 150"/>
                <a:gd name="T58" fmla="*/ 30 w 150"/>
                <a:gd name="T59" fmla="*/ 114 h 150"/>
                <a:gd name="T60" fmla="*/ 24 w 150"/>
                <a:gd name="T61" fmla="*/ 102 h 150"/>
                <a:gd name="T62" fmla="*/ 30 w 150"/>
                <a:gd name="T63" fmla="*/ 102 h 150"/>
                <a:gd name="T64" fmla="*/ 24 w 150"/>
                <a:gd name="T65" fmla="*/ 90 h 150"/>
                <a:gd name="T66" fmla="*/ 12 w 150"/>
                <a:gd name="T67" fmla="*/ 84 h 150"/>
                <a:gd name="T68" fmla="*/ 6 w 150"/>
                <a:gd name="T69" fmla="*/ 84 h 150"/>
                <a:gd name="T70" fmla="*/ 12 w 150"/>
                <a:gd name="T71" fmla="*/ 72 h 150"/>
                <a:gd name="T72" fmla="*/ 12 w 150"/>
                <a:gd name="T73" fmla="*/ 78 h 150"/>
                <a:gd name="T74" fmla="*/ 24 w 150"/>
                <a:gd name="T75" fmla="*/ 72 h 150"/>
                <a:gd name="T76" fmla="*/ 12 w 150"/>
                <a:gd name="T77" fmla="*/ 72 h 150"/>
                <a:gd name="T78" fmla="*/ 6 w 150"/>
                <a:gd name="T79" fmla="*/ 72 h 150"/>
                <a:gd name="T80" fmla="*/ 6 w 150"/>
                <a:gd name="T81" fmla="*/ 66 h 150"/>
                <a:gd name="T82" fmla="*/ 12 w 150"/>
                <a:gd name="T83" fmla="*/ 54 h 150"/>
                <a:gd name="T84" fmla="*/ 6 w 150"/>
                <a:gd name="T85" fmla="*/ 54 h 1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0"/>
                <a:gd name="T130" fmla="*/ 0 h 150"/>
                <a:gd name="T131" fmla="*/ 150 w 150"/>
                <a:gd name="T132" fmla="*/ 150 h 15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0" h="150">
                  <a:moveTo>
                    <a:pt x="0" y="48"/>
                  </a:move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72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38" y="48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0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16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826" y="1728"/>
              <a:ext cx="336" cy="240"/>
            </a:xfrm>
            <a:custGeom>
              <a:avLst/>
              <a:gdLst>
                <a:gd name="T0" fmla="*/ 6 w 396"/>
                <a:gd name="T1" fmla="*/ 210 h 282"/>
                <a:gd name="T2" fmla="*/ 12 w 396"/>
                <a:gd name="T3" fmla="*/ 192 h 282"/>
                <a:gd name="T4" fmla="*/ 18 w 396"/>
                <a:gd name="T5" fmla="*/ 174 h 282"/>
                <a:gd name="T6" fmla="*/ 12 w 396"/>
                <a:gd name="T7" fmla="*/ 162 h 282"/>
                <a:gd name="T8" fmla="*/ 12 w 396"/>
                <a:gd name="T9" fmla="*/ 162 h 282"/>
                <a:gd name="T10" fmla="*/ 30 w 396"/>
                <a:gd name="T11" fmla="*/ 150 h 282"/>
                <a:gd name="T12" fmla="*/ 48 w 396"/>
                <a:gd name="T13" fmla="*/ 138 h 282"/>
                <a:gd name="T14" fmla="*/ 48 w 396"/>
                <a:gd name="T15" fmla="*/ 120 h 282"/>
                <a:gd name="T16" fmla="*/ 66 w 396"/>
                <a:gd name="T17" fmla="*/ 108 h 282"/>
                <a:gd name="T18" fmla="*/ 66 w 396"/>
                <a:gd name="T19" fmla="*/ 90 h 282"/>
                <a:gd name="T20" fmla="*/ 72 w 396"/>
                <a:gd name="T21" fmla="*/ 78 h 282"/>
                <a:gd name="T22" fmla="*/ 96 w 396"/>
                <a:gd name="T23" fmla="*/ 90 h 282"/>
                <a:gd name="T24" fmla="*/ 114 w 396"/>
                <a:gd name="T25" fmla="*/ 78 h 282"/>
                <a:gd name="T26" fmla="*/ 114 w 396"/>
                <a:gd name="T27" fmla="*/ 66 h 282"/>
                <a:gd name="T28" fmla="*/ 132 w 396"/>
                <a:gd name="T29" fmla="*/ 66 h 282"/>
                <a:gd name="T30" fmla="*/ 150 w 396"/>
                <a:gd name="T31" fmla="*/ 36 h 282"/>
                <a:gd name="T32" fmla="*/ 180 w 396"/>
                <a:gd name="T33" fmla="*/ 30 h 282"/>
                <a:gd name="T34" fmla="*/ 228 w 396"/>
                <a:gd name="T35" fmla="*/ 6 h 282"/>
                <a:gd name="T36" fmla="*/ 276 w 396"/>
                <a:gd name="T37" fmla="*/ 6 h 282"/>
                <a:gd name="T38" fmla="*/ 282 w 396"/>
                <a:gd name="T39" fmla="*/ 12 h 282"/>
                <a:gd name="T40" fmla="*/ 294 w 396"/>
                <a:gd name="T41" fmla="*/ 36 h 282"/>
                <a:gd name="T42" fmla="*/ 300 w 396"/>
                <a:gd name="T43" fmla="*/ 60 h 282"/>
                <a:gd name="T44" fmla="*/ 318 w 396"/>
                <a:gd name="T45" fmla="*/ 72 h 282"/>
                <a:gd name="T46" fmla="*/ 336 w 396"/>
                <a:gd name="T47" fmla="*/ 84 h 282"/>
                <a:gd name="T48" fmla="*/ 354 w 396"/>
                <a:gd name="T49" fmla="*/ 120 h 282"/>
                <a:gd name="T50" fmla="*/ 384 w 396"/>
                <a:gd name="T51" fmla="*/ 120 h 282"/>
                <a:gd name="T52" fmla="*/ 396 w 396"/>
                <a:gd name="T53" fmla="*/ 156 h 282"/>
                <a:gd name="T54" fmla="*/ 390 w 396"/>
                <a:gd name="T55" fmla="*/ 168 h 282"/>
                <a:gd name="T56" fmla="*/ 360 w 396"/>
                <a:gd name="T57" fmla="*/ 180 h 282"/>
                <a:gd name="T58" fmla="*/ 336 w 396"/>
                <a:gd name="T59" fmla="*/ 186 h 282"/>
                <a:gd name="T60" fmla="*/ 324 w 396"/>
                <a:gd name="T61" fmla="*/ 192 h 282"/>
                <a:gd name="T62" fmla="*/ 306 w 396"/>
                <a:gd name="T63" fmla="*/ 204 h 282"/>
                <a:gd name="T64" fmla="*/ 258 w 396"/>
                <a:gd name="T65" fmla="*/ 198 h 282"/>
                <a:gd name="T66" fmla="*/ 246 w 396"/>
                <a:gd name="T67" fmla="*/ 198 h 282"/>
                <a:gd name="T68" fmla="*/ 234 w 396"/>
                <a:gd name="T69" fmla="*/ 204 h 282"/>
                <a:gd name="T70" fmla="*/ 216 w 396"/>
                <a:gd name="T71" fmla="*/ 204 h 282"/>
                <a:gd name="T72" fmla="*/ 192 w 396"/>
                <a:gd name="T73" fmla="*/ 204 h 282"/>
                <a:gd name="T74" fmla="*/ 150 w 396"/>
                <a:gd name="T75" fmla="*/ 204 h 282"/>
                <a:gd name="T76" fmla="*/ 132 w 396"/>
                <a:gd name="T77" fmla="*/ 204 h 282"/>
                <a:gd name="T78" fmla="*/ 126 w 396"/>
                <a:gd name="T79" fmla="*/ 222 h 282"/>
                <a:gd name="T80" fmla="*/ 132 w 396"/>
                <a:gd name="T81" fmla="*/ 228 h 282"/>
                <a:gd name="T82" fmla="*/ 132 w 396"/>
                <a:gd name="T83" fmla="*/ 246 h 282"/>
                <a:gd name="T84" fmla="*/ 138 w 396"/>
                <a:gd name="T85" fmla="*/ 264 h 282"/>
                <a:gd name="T86" fmla="*/ 138 w 396"/>
                <a:gd name="T87" fmla="*/ 282 h 282"/>
                <a:gd name="T88" fmla="*/ 120 w 396"/>
                <a:gd name="T89" fmla="*/ 264 h 282"/>
                <a:gd name="T90" fmla="*/ 108 w 396"/>
                <a:gd name="T91" fmla="*/ 258 h 282"/>
                <a:gd name="T92" fmla="*/ 84 w 396"/>
                <a:gd name="T93" fmla="*/ 252 h 282"/>
                <a:gd name="T94" fmla="*/ 66 w 396"/>
                <a:gd name="T95" fmla="*/ 264 h 282"/>
                <a:gd name="T96" fmla="*/ 48 w 396"/>
                <a:gd name="T97" fmla="*/ 264 h 282"/>
                <a:gd name="T98" fmla="*/ 24 w 396"/>
                <a:gd name="T99" fmla="*/ 258 h 282"/>
                <a:gd name="T100" fmla="*/ 24 w 396"/>
                <a:gd name="T101" fmla="*/ 246 h 282"/>
                <a:gd name="T102" fmla="*/ 18 w 396"/>
                <a:gd name="T103" fmla="*/ 234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96"/>
                <a:gd name="T157" fmla="*/ 0 h 282"/>
                <a:gd name="T158" fmla="*/ 396 w 39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96" h="282">
                  <a:moveTo>
                    <a:pt x="0" y="228"/>
                  </a:moveTo>
                  <a:lnTo>
                    <a:pt x="0" y="222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72"/>
                  </a:lnTo>
                  <a:lnTo>
                    <a:pt x="126" y="66"/>
                  </a:lnTo>
                  <a:lnTo>
                    <a:pt x="126" y="72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32" y="54"/>
                  </a:lnTo>
                  <a:lnTo>
                    <a:pt x="132" y="48"/>
                  </a:lnTo>
                  <a:lnTo>
                    <a:pt x="144" y="48"/>
                  </a:lnTo>
                  <a:lnTo>
                    <a:pt x="150" y="36"/>
                  </a:lnTo>
                  <a:lnTo>
                    <a:pt x="162" y="42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40" y="0"/>
                  </a:lnTo>
                  <a:lnTo>
                    <a:pt x="252" y="0"/>
                  </a:lnTo>
                  <a:lnTo>
                    <a:pt x="264" y="0"/>
                  </a:lnTo>
                  <a:lnTo>
                    <a:pt x="276" y="0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288" y="0"/>
                  </a:lnTo>
                  <a:lnTo>
                    <a:pt x="288" y="6"/>
                  </a:lnTo>
                  <a:lnTo>
                    <a:pt x="282" y="12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294" y="48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6" y="60"/>
                  </a:lnTo>
                  <a:lnTo>
                    <a:pt x="306" y="66"/>
                  </a:lnTo>
                  <a:lnTo>
                    <a:pt x="312" y="66"/>
                  </a:lnTo>
                  <a:lnTo>
                    <a:pt x="312" y="72"/>
                  </a:lnTo>
                  <a:lnTo>
                    <a:pt x="318" y="72"/>
                  </a:lnTo>
                  <a:lnTo>
                    <a:pt x="324" y="72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84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54" y="120"/>
                  </a:lnTo>
                  <a:lnTo>
                    <a:pt x="366" y="120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78" y="132"/>
                  </a:lnTo>
                  <a:lnTo>
                    <a:pt x="378" y="138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2" y="180"/>
                  </a:lnTo>
                  <a:lnTo>
                    <a:pt x="366" y="180"/>
                  </a:lnTo>
                  <a:lnTo>
                    <a:pt x="360" y="180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2" y="180"/>
                  </a:lnTo>
                  <a:lnTo>
                    <a:pt x="342" y="186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192"/>
                  </a:lnTo>
                  <a:lnTo>
                    <a:pt x="330" y="198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06" y="204"/>
                  </a:lnTo>
                  <a:lnTo>
                    <a:pt x="300" y="204"/>
                  </a:lnTo>
                  <a:lnTo>
                    <a:pt x="300" y="198"/>
                  </a:lnTo>
                  <a:lnTo>
                    <a:pt x="264" y="192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52" y="192"/>
                  </a:lnTo>
                  <a:lnTo>
                    <a:pt x="252" y="198"/>
                  </a:lnTo>
                  <a:lnTo>
                    <a:pt x="246" y="198"/>
                  </a:lnTo>
                  <a:lnTo>
                    <a:pt x="246" y="204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22" y="198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8" y="198"/>
                  </a:lnTo>
                  <a:lnTo>
                    <a:pt x="132" y="198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6" y="216"/>
                  </a:lnTo>
                  <a:lnTo>
                    <a:pt x="132" y="216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8" y="240"/>
                  </a:lnTo>
                  <a:lnTo>
                    <a:pt x="132" y="240"/>
                  </a:lnTo>
                  <a:lnTo>
                    <a:pt x="138" y="246"/>
                  </a:lnTo>
                  <a:lnTo>
                    <a:pt x="132" y="246"/>
                  </a:lnTo>
                  <a:lnTo>
                    <a:pt x="138" y="246"/>
                  </a:lnTo>
                  <a:lnTo>
                    <a:pt x="138" y="252"/>
                  </a:lnTo>
                  <a:lnTo>
                    <a:pt x="138" y="258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70"/>
                  </a:lnTo>
                  <a:lnTo>
                    <a:pt x="138" y="276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14" y="252"/>
                  </a:lnTo>
                  <a:lnTo>
                    <a:pt x="114" y="258"/>
                  </a:lnTo>
                  <a:lnTo>
                    <a:pt x="108" y="258"/>
                  </a:lnTo>
                  <a:lnTo>
                    <a:pt x="108" y="252"/>
                  </a:lnTo>
                  <a:lnTo>
                    <a:pt x="102" y="252"/>
                  </a:lnTo>
                  <a:lnTo>
                    <a:pt x="96" y="252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54" y="270"/>
                  </a:lnTo>
                  <a:lnTo>
                    <a:pt x="48" y="270"/>
                  </a:lnTo>
                  <a:lnTo>
                    <a:pt x="48" y="264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58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0" y="234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17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922" y="1892"/>
              <a:ext cx="184" cy="270"/>
            </a:xfrm>
            <a:custGeom>
              <a:avLst/>
              <a:gdLst>
                <a:gd name="T0" fmla="*/ 18 w 216"/>
                <a:gd name="T1" fmla="*/ 72 h 318"/>
                <a:gd name="T2" fmla="*/ 24 w 216"/>
                <a:gd name="T3" fmla="*/ 60 h 318"/>
                <a:gd name="T4" fmla="*/ 18 w 216"/>
                <a:gd name="T5" fmla="*/ 48 h 318"/>
                <a:gd name="T6" fmla="*/ 18 w 216"/>
                <a:gd name="T7" fmla="*/ 42 h 318"/>
                <a:gd name="T8" fmla="*/ 12 w 216"/>
                <a:gd name="T9" fmla="*/ 30 h 318"/>
                <a:gd name="T10" fmla="*/ 18 w 216"/>
                <a:gd name="T11" fmla="*/ 18 h 318"/>
                <a:gd name="T12" fmla="*/ 24 w 216"/>
                <a:gd name="T13" fmla="*/ 12 h 318"/>
                <a:gd name="T14" fmla="*/ 48 w 216"/>
                <a:gd name="T15" fmla="*/ 12 h 318"/>
                <a:gd name="T16" fmla="*/ 78 w 216"/>
                <a:gd name="T17" fmla="*/ 6 h 318"/>
                <a:gd name="T18" fmla="*/ 102 w 216"/>
                <a:gd name="T19" fmla="*/ 12 h 318"/>
                <a:gd name="T20" fmla="*/ 114 w 216"/>
                <a:gd name="T21" fmla="*/ 12 h 318"/>
                <a:gd name="T22" fmla="*/ 126 w 216"/>
                <a:gd name="T23" fmla="*/ 12 h 318"/>
                <a:gd name="T24" fmla="*/ 138 w 216"/>
                <a:gd name="T25" fmla="*/ 0 h 318"/>
                <a:gd name="T26" fmla="*/ 144 w 216"/>
                <a:gd name="T27" fmla="*/ 0 h 318"/>
                <a:gd name="T28" fmla="*/ 162 w 216"/>
                <a:gd name="T29" fmla="*/ 6 h 318"/>
                <a:gd name="T30" fmla="*/ 156 w 216"/>
                <a:gd name="T31" fmla="*/ 30 h 318"/>
                <a:gd name="T32" fmla="*/ 174 w 216"/>
                <a:gd name="T33" fmla="*/ 36 h 318"/>
                <a:gd name="T34" fmla="*/ 180 w 216"/>
                <a:gd name="T35" fmla="*/ 54 h 318"/>
                <a:gd name="T36" fmla="*/ 180 w 216"/>
                <a:gd name="T37" fmla="*/ 66 h 318"/>
                <a:gd name="T38" fmla="*/ 174 w 216"/>
                <a:gd name="T39" fmla="*/ 78 h 318"/>
                <a:gd name="T40" fmla="*/ 174 w 216"/>
                <a:gd name="T41" fmla="*/ 90 h 318"/>
                <a:gd name="T42" fmla="*/ 186 w 216"/>
                <a:gd name="T43" fmla="*/ 90 h 318"/>
                <a:gd name="T44" fmla="*/ 180 w 216"/>
                <a:gd name="T45" fmla="*/ 108 h 318"/>
                <a:gd name="T46" fmla="*/ 180 w 216"/>
                <a:gd name="T47" fmla="*/ 126 h 318"/>
                <a:gd name="T48" fmla="*/ 192 w 216"/>
                <a:gd name="T49" fmla="*/ 138 h 318"/>
                <a:gd name="T50" fmla="*/ 192 w 216"/>
                <a:gd name="T51" fmla="*/ 150 h 318"/>
                <a:gd name="T52" fmla="*/ 192 w 216"/>
                <a:gd name="T53" fmla="*/ 174 h 318"/>
                <a:gd name="T54" fmla="*/ 192 w 216"/>
                <a:gd name="T55" fmla="*/ 186 h 318"/>
                <a:gd name="T56" fmla="*/ 186 w 216"/>
                <a:gd name="T57" fmla="*/ 210 h 318"/>
                <a:gd name="T58" fmla="*/ 192 w 216"/>
                <a:gd name="T59" fmla="*/ 228 h 318"/>
                <a:gd name="T60" fmla="*/ 204 w 216"/>
                <a:gd name="T61" fmla="*/ 240 h 318"/>
                <a:gd name="T62" fmla="*/ 216 w 216"/>
                <a:gd name="T63" fmla="*/ 252 h 318"/>
                <a:gd name="T64" fmla="*/ 204 w 216"/>
                <a:gd name="T65" fmla="*/ 270 h 318"/>
                <a:gd name="T66" fmla="*/ 168 w 216"/>
                <a:gd name="T67" fmla="*/ 270 h 318"/>
                <a:gd name="T68" fmla="*/ 156 w 216"/>
                <a:gd name="T69" fmla="*/ 282 h 318"/>
                <a:gd name="T70" fmla="*/ 138 w 216"/>
                <a:gd name="T71" fmla="*/ 288 h 318"/>
                <a:gd name="T72" fmla="*/ 120 w 216"/>
                <a:gd name="T73" fmla="*/ 294 h 318"/>
                <a:gd name="T74" fmla="*/ 108 w 216"/>
                <a:gd name="T75" fmla="*/ 294 h 318"/>
                <a:gd name="T76" fmla="*/ 90 w 216"/>
                <a:gd name="T77" fmla="*/ 306 h 318"/>
                <a:gd name="T78" fmla="*/ 72 w 216"/>
                <a:gd name="T79" fmla="*/ 312 h 318"/>
                <a:gd name="T80" fmla="*/ 54 w 216"/>
                <a:gd name="T81" fmla="*/ 318 h 318"/>
                <a:gd name="T82" fmla="*/ 36 w 216"/>
                <a:gd name="T83" fmla="*/ 306 h 318"/>
                <a:gd name="T84" fmla="*/ 6 w 216"/>
                <a:gd name="T85" fmla="*/ 300 h 318"/>
                <a:gd name="T86" fmla="*/ 18 w 216"/>
                <a:gd name="T87" fmla="*/ 300 h 318"/>
                <a:gd name="T88" fmla="*/ 24 w 216"/>
                <a:gd name="T89" fmla="*/ 282 h 318"/>
                <a:gd name="T90" fmla="*/ 12 w 216"/>
                <a:gd name="T91" fmla="*/ 270 h 318"/>
                <a:gd name="T92" fmla="*/ 6 w 216"/>
                <a:gd name="T93" fmla="*/ 246 h 318"/>
                <a:gd name="T94" fmla="*/ 0 w 216"/>
                <a:gd name="T95" fmla="*/ 222 h 318"/>
                <a:gd name="T96" fmla="*/ 12 w 216"/>
                <a:gd name="T97" fmla="*/ 204 h 318"/>
                <a:gd name="T98" fmla="*/ 12 w 216"/>
                <a:gd name="T99" fmla="*/ 180 h 318"/>
                <a:gd name="T100" fmla="*/ 24 w 216"/>
                <a:gd name="T101" fmla="*/ 156 h 318"/>
                <a:gd name="T102" fmla="*/ 36 w 216"/>
                <a:gd name="T103" fmla="*/ 144 h 318"/>
                <a:gd name="T104" fmla="*/ 30 w 216"/>
                <a:gd name="T105" fmla="*/ 114 h 318"/>
                <a:gd name="T106" fmla="*/ 24 w 216"/>
                <a:gd name="T107" fmla="*/ 96 h 318"/>
                <a:gd name="T108" fmla="*/ 24 w 216"/>
                <a:gd name="T109" fmla="*/ 84 h 3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6"/>
                <a:gd name="T166" fmla="*/ 0 h 318"/>
                <a:gd name="T167" fmla="*/ 216 w 216"/>
                <a:gd name="T168" fmla="*/ 318 h 3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6" h="318">
                  <a:moveTo>
                    <a:pt x="24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42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74" y="78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14"/>
                  </a:lnTo>
                  <a:lnTo>
                    <a:pt x="186" y="120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0" y="246"/>
                  </a:lnTo>
                  <a:lnTo>
                    <a:pt x="216" y="246"/>
                  </a:lnTo>
                  <a:lnTo>
                    <a:pt x="216" y="252"/>
                  </a:lnTo>
                  <a:lnTo>
                    <a:pt x="216" y="258"/>
                  </a:lnTo>
                  <a:lnTo>
                    <a:pt x="210" y="264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8" y="288"/>
                  </a:lnTo>
                  <a:lnTo>
                    <a:pt x="132" y="288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20" y="294"/>
                  </a:lnTo>
                  <a:lnTo>
                    <a:pt x="114" y="294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8" y="300"/>
                  </a:lnTo>
                  <a:lnTo>
                    <a:pt x="102" y="300"/>
                  </a:lnTo>
                  <a:lnTo>
                    <a:pt x="96" y="300"/>
                  </a:lnTo>
                  <a:lnTo>
                    <a:pt x="90" y="306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8" y="312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36" y="306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12" y="306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0" y="222"/>
                  </a:lnTo>
                  <a:lnTo>
                    <a:pt x="0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18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93" y="1912"/>
              <a:ext cx="260" cy="265"/>
            </a:xfrm>
            <a:custGeom>
              <a:avLst/>
              <a:gdLst>
                <a:gd name="T0" fmla="*/ 30 w 306"/>
                <a:gd name="T1" fmla="*/ 150 h 312"/>
                <a:gd name="T2" fmla="*/ 30 w 306"/>
                <a:gd name="T3" fmla="*/ 132 h 312"/>
                <a:gd name="T4" fmla="*/ 24 w 306"/>
                <a:gd name="T5" fmla="*/ 120 h 312"/>
                <a:gd name="T6" fmla="*/ 18 w 306"/>
                <a:gd name="T7" fmla="*/ 114 h 312"/>
                <a:gd name="T8" fmla="*/ 36 w 306"/>
                <a:gd name="T9" fmla="*/ 108 h 312"/>
                <a:gd name="T10" fmla="*/ 42 w 306"/>
                <a:gd name="T11" fmla="*/ 108 h 312"/>
                <a:gd name="T12" fmla="*/ 42 w 306"/>
                <a:gd name="T13" fmla="*/ 96 h 312"/>
                <a:gd name="T14" fmla="*/ 42 w 306"/>
                <a:gd name="T15" fmla="*/ 78 h 312"/>
                <a:gd name="T16" fmla="*/ 36 w 306"/>
                <a:gd name="T17" fmla="*/ 66 h 312"/>
                <a:gd name="T18" fmla="*/ 30 w 306"/>
                <a:gd name="T19" fmla="*/ 66 h 312"/>
                <a:gd name="T20" fmla="*/ 24 w 306"/>
                <a:gd name="T21" fmla="*/ 42 h 312"/>
                <a:gd name="T22" fmla="*/ 30 w 306"/>
                <a:gd name="T23" fmla="*/ 42 h 312"/>
                <a:gd name="T24" fmla="*/ 30 w 306"/>
                <a:gd name="T25" fmla="*/ 30 h 312"/>
                <a:gd name="T26" fmla="*/ 48 w 306"/>
                <a:gd name="T27" fmla="*/ 12 h 312"/>
                <a:gd name="T28" fmla="*/ 66 w 306"/>
                <a:gd name="T29" fmla="*/ 24 h 312"/>
                <a:gd name="T30" fmla="*/ 84 w 306"/>
                <a:gd name="T31" fmla="*/ 24 h 312"/>
                <a:gd name="T32" fmla="*/ 96 w 306"/>
                <a:gd name="T33" fmla="*/ 12 h 312"/>
                <a:gd name="T34" fmla="*/ 108 w 306"/>
                <a:gd name="T35" fmla="*/ 6 h 312"/>
                <a:gd name="T36" fmla="*/ 120 w 306"/>
                <a:gd name="T37" fmla="*/ 0 h 312"/>
                <a:gd name="T38" fmla="*/ 126 w 306"/>
                <a:gd name="T39" fmla="*/ 12 h 312"/>
                <a:gd name="T40" fmla="*/ 126 w 306"/>
                <a:gd name="T41" fmla="*/ 18 h 312"/>
                <a:gd name="T42" fmla="*/ 132 w 306"/>
                <a:gd name="T43" fmla="*/ 18 h 312"/>
                <a:gd name="T44" fmla="*/ 156 w 306"/>
                <a:gd name="T45" fmla="*/ 12 h 312"/>
                <a:gd name="T46" fmla="*/ 174 w 306"/>
                <a:gd name="T47" fmla="*/ 24 h 312"/>
                <a:gd name="T48" fmla="*/ 180 w 306"/>
                <a:gd name="T49" fmla="*/ 36 h 312"/>
                <a:gd name="T50" fmla="*/ 186 w 306"/>
                <a:gd name="T51" fmla="*/ 42 h 312"/>
                <a:gd name="T52" fmla="*/ 204 w 306"/>
                <a:gd name="T53" fmla="*/ 54 h 312"/>
                <a:gd name="T54" fmla="*/ 222 w 306"/>
                <a:gd name="T55" fmla="*/ 42 h 312"/>
                <a:gd name="T56" fmla="*/ 246 w 306"/>
                <a:gd name="T57" fmla="*/ 36 h 312"/>
                <a:gd name="T58" fmla="*/ 270 w 306"/>
                <a:gd name="T59" fmla="*/ 42 h 312"/>
                <a:gd name="T60" fmla="*/ 282 w 306"/>
                <a:gd name="T61" fmla="*/ 48 h 312"/>
                <a:gd name="T62" fmla="*/ 294 w 306"/>
                <a:gd name="T63" fmla="*/ 60 h 312"/>
                <a:gd name="T64" fmla="*/ 294 w 306"/>
                <a:gd name="T65" fmla="*/ 78 h 312"/>
                <a:gd name="T66" fmla="*/ 306 w 306"/>
                <a:gd name="T67" fmla="*/ 108 h 312"/>
                <a:gd name="T68" fmla="*/ 300 w 306"/>
                <a:gd name="T69" fmla="*/ 132 h 312"/>
                <a:gd name="T70" fmla="*/ 282 w 306"/>
                <a:gd name="T71" fmla="*/ 156 h 312"/>
                <a:gd name="T72" fmla="*/ 276 w 306"/>
                <a:gd name="T73" fmla="*/ 180 h 312"/>
                <a:gd name="T74" fmla="*/ 270 w 306"/>
                <a:gd name="T75" fmla="*/ 216 h 312"/>
                <a:gd name="T76" fmla="*/ 282 w 306"/>
                <a:gd name="T77" fmla="*/ 240 h 312"/>
                <a:gd name="T78" fmla="*/ 294 w 306"/>
                <a:gd name="T79" fmla="*/ 258 h 312"/>
                <a:gd name="T80" fmla="*/ 282 w 306"/>
                <a:gd name="T81" fmla="*/ 276 h 312"/>
                <a:gd name="T82" fmla="*/ 264 w 306"/>
                <a:gd name="T83" fmla="*/ 276 h 312"/>
                <a:gd name="T84" fmla="*/ 216 w 306"/>
                <a:gd name="T85" fmla="*/ 270 h 312"/>
                <a:gd name="T86" fmla="*/ 156 w 306"/>
                <a:gd name="T87" fmla="*/ 276 h 312"/>
                <a:gd name="T88" fmla="*/ 126 w 306"/>
                <a:gd name="T89" fmla="*/ 282 h 312"/>
                <a:gd name="T90" fmla="*/ 114 w 306"/>
                <a:gd name="T91" fmla="*/ 288 h 312"/>
                <a:gd name="T92" fmla="*/ 84 w 306"/>
                <a:gd name="T93" fmla="*/ 300 h 312"/>
                <a:gd name="T94" fmla="*/ 66 w 306"/>
                <a:gd name="T95" fmla="*/ 312 h 312"/>
                <a:gd name="T96" fmla="*/ 54 w 306"/>
                <a:gd name="T97" fmla="*/ 294 h 312"/>
                <a:gd name="T98" fmla="*/ 60 w 306"/>
                <a:gd name="T99" fmla="*/ 270 h 312"/>
                <a:gd name="T100" fmla="*/ 66 w 306"/>
                <a:gd name="T101" fmla="*/ 258 h 312"/>
                <a:gd name="T102" fmla="*/ 60 w 306"/>
                <a:gd name="T103" fmla="*/ 246 h 312"/>
                <a:gd name="T104" fmla="*/ 48 w 306"/>
                <a:gd name="T105" fmla="*/ 240 h 312"/>
                <a:gd name="T106" fmla="*/ 36 w 306"/>
                <a:gd name="T107" fmla="*/ 222 h 312"/>
                <a:gd name="T108" fmla="*/ 36 w 306"/>
                <a:gd name="T109" fmla="*/ 216 h 312"/>
                <a:gd name="T110" fmla="*/ 12 w 306"/>
                <a:gd name="T111" fmla="*/ 216 h 312"/>
                <a:gd name="T112" fmla="*/ 6 w 306"/>
                <a:gd name="T113" fmla="*/ 204 h 312"/>
                <a:gd name="T114" fmla="*/ 18 w 306"/>
                <a:gd name="T115" fmla="*/ 186 h 312"/>
                <a:gd name="T116" fmla="*/ 12 w 306"/>
                <a:gd name="T117" fmla="*/ 162 h 3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06"/>
                <a:gd name="T178" fmla="*/ 0 h 312"/>
                <a:gd name="T179" fmla="*/ 306 w 306"/>
                <a:gd name="T180" fmla="*/ 312 h 3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06" h="312">
                  <a:moveTo>
                    <a:pt x="12" y="156"/>
                  </a:moveTo>
                  <a:lnTo>
                    <a:pt x="18" y="156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6" y="42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94" y="72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78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0" y="96"/>
                  </a:lnTo>
                  <a:lnTo>
                    <a:pt x="306" y="108"/>
                  </a:lnTo>
                  <a:lnTo>
                    <a:pt x="306" y="114"/>
                  </a:lnTo>
                  <a:lnTo>
                    <a:pt x="306" y="120"/>
                  </a:lnTo>
                  <a:lnTo>
                    <a:pt x="306" y="126"/>
                  </a:lnTo>
                  <a:lnTo>
                    <a:pt x="300" y="126"/>
                  </a:lnTo>
                  <a:lnTo>
                    <a:pt x="300" y="132"/>
                  </a:lnTo>
                  <a:lnTo>
                    <a:pt x="294" y="132"/>
                  </a:lnTo>
                  <a:lnTo>
                    <a:pt x="294" y="138"/>
                  </a:lnTo>
                  <a:lnTo>
                    <a:pt x="288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2" y="174"/>
                  </a:lnTo>
                  <a:lnTo>
                    <a:pt x="282" y="180"/>
                  </a:lnTo>
                  <a:lnTo>
                    <a:pt x="276" y="180"/>
                  </a:lnTo>
                  <a:lnTo>
                    <a:pt x="276" y="186"/>
                  </a:lnTo>
                  <a:lnTo>
                    <a:pt x="270" y="192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76" y="228"/>
                  </a:lnTo>
                  <a:lnTo>
                    <a:pt x="276" y="234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294" y="258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94" y="276"/>
                  </a:lnTo>
                  <a:lnTo>
                    <a:pt x="288" y="276"/>
                  </a:lnTo>
                  <a:lnTo>
                    <a:pt x="282" y="276"/>
                  </a:lnTo>
                  <a:lnTo>
                    <a:pt x="282" y="282"/>
                  </a:lnTo>
                  <a:lnTo>
                    <a:pt x="282" y="276"/>
                  </a:lnTo>
                  <a:lnTo>
                    <a:pt x="276" y="276"/>
                  </a:lnTo>
                  <a:lnTo>
                    <a:pt x="270" y="276"/>
                  </a:lnTo>
                  <a:lnTo>
                    <a:pt x="264" y="276"/>
                  </a:lnTo>
                  <a:lnTo>
                    <a:pt x="240" y="276"/>
                  </a:lnTo>
                  <a:lnTo>
                    <a:pt x="234" y="270"/>
                  </a:lnTo>
                  <a:lnTo>
                    <a:pt x="228" y="270"/>
                  </a:lnTo>
                  <a:lnTo>
                    <a:pt x="222" y="270"/>
                  </a:lnTo>
                  <a:lnTo>
                    <a:pt x="216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0" y="276"/>
                  </a:lnTo>
                  <a:lnTo>
                    <a:pt x="168" y="276"/>
                  </a:lnTo>
                  <a:lnTo>
                    <a:pt x="156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14" y="288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54" y="282"/>
                  </a:lnTo>
                  <a:lnTo>
                    <a:pt x="54" y="276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0" y="216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56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19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576" y="2004"/>
              <a:ext cx="173" cy="178"/>
            </a:xfrm>
            <a:custGeom>
              <a:avLst/>
              <a:gdLst>
                <a:gd name="T0" fmla="*/ 6 w 204"/>
                <a:gd name="T1" fmla="*/ 66 h 210"/>
                <a:gd name="T2" fmla="*/ 18 w 204"/>
                <a:gd name="T3" fmla="*/ 54 h 210"/>
                <a:gd name="T4" fmla="*/ 30 w 204"/>
                <a:gd name="T5" fmla="*/ 48 h 210"/>
                <a:gd name="T6" fmla="*/ 36 w 204"/>
                <a:gd name="T7" fmla="*/ 36 h 210"/>
                <a:gd name="T8" fmla="*/ 48 w 204"/>
                <a:gd name="T9" fmla="*/ 18 h 210"/>
                <a:gd name="T10" fmla="*/ 54 w 204"/>
                <a:gd name="T11" fmla="*/ 6 h 210"/>
                <a:gd name="T12" fmla="*/ 66 w 204"/>
                <a:gd name="T13" fmla="*/ 0 h 210"/>
                <a:gd name="T14" fmla="*/ 72 w 204"/>
                <a:gd name="T15" fmla="*/ 0 h 210"/>
                <a:gd name="T16" fmla="*/ 78 w 204"/>
                <a:gd name="T17" fmla="*/ 0 h 210"/>
                <a:gd name="T18" fmla="*/ 84 w 204"/>
                <a:gd name="T19" fmla="*/ 0 h 210"/>
                <a:gd name="T20" fmla="*/ 96 w 204"/>
                <a:gd name="T21" fmla="*/ 6 h 210"/>
                <a:gd name="T22" fmla="*/ 96 w 204"/>
                <a:gd name="T23" fmla="*/ 24 h 210"/>
                <a:gd name="T24" fmla="*/ 102 w 204"/>
                <a:gd name="T25" fmla="*/ 36 h 210"/>
                <a:gd name="T26" fmla="*/ 102 w 204"/>
                <a:gd name="T27" fmla="*/ 54 h 210"/>
                <a:gd name="T28" fmla="*/ 96 w 204"/>
                <a:gd name="T29" fmla="*/ 54 h 210"/>
                <a:gd name="T30" fmla="*/ 108 w 204"/>
                <a:gd name="T31" fmla="*/ 60 h 210"/>
                <a:gd name="T32" fmla="*/ 120 w 204"/>
                <a:gd name="T33" fmla="*/ 66 h 210"/>
                <a:gd name="T34" fmla="*/ 132 w 204"/>
                <a:gd name="T35" fmla="*/ 60 h 210"/>
                <a:gd name="T36" fmla="*/ 126 w 204"/>
                <a:gd name="T37" fmla="*/ 60 h 210"/>
                <a:gd name="T38" fmla="*/ 132 w 204"/>
                <a:gd name="T39" fmla="*/ 48 h 210"/>
                <a:gd name="T40" fmla="*/ 144 w 204"/>
                <a:gd name="T41" fmla="*/ 48 h 210"/>
                <a:gd name="T42" fmla="*/ 150 w 204"/>
                <a:gd name="T43" fmla="*/ 60 h 210"/>
                <a:gd name="T44" fmla="*/ 156 w 204"/>
                <a:gd name="T45" fmla="*/ 72 h 210"/>
                <a:gd name="T46" fmla="*/ 156 w 204"/>
                <a:gd name="T47" fmla="*/ 90 h 210"/>
                <a:gd name="T48" fmla="*/ 144 w 204"/>
                <a:gd name="T49" fmla="*/ 96 h 210"/>
                <a:gd name="T50" fmla="*/ 144 w 204"/>
                <a:gd name="T51" fmla="*/ 102 h 210"/>
                <a:gd name="T52" fmla="*/ 156 w 204"/>
                <a:gd name="T53" fmla="*/ 108 h 210"/>
                <a:gd name="T54" fmla="*/ 168 w 204"/>
                <a:gd name="T55" fmla="*/ 108 h 210"/>
                <a:gd name="T56" fmla="*/ 174 w 204"/>
                <a:gd name="T57" fmla="*/ 108 h 210"/>
                <a:gd name="T58" fmla="*/ 174 w 204"/>
                <a:gd name="T59" fmla="*/ 114 h 210"/>
                <a:gd name="T60" fmla="*/ 180 w 204"/>
                <a:gd name="T61" fmla="*/ 126 h 210"/>
                <a:gd name="T62" fmla="*/ 186 w 204"/>
                <a:gd name="T63" fmla="*/ 126 h 210"/>
                <a:gd name="T64" fmla="*/ 198 w 204"/>
                <a:gd name="T65" fmla="*/ 132 h 210"/>
                <a:gd name="T66" fmla="*/ 204 w 204"/>
                <a:gd name="T67" fmla="*/ 144 h 210"/>
                <a:gd name="T68" fmla="*/ 204 w 204"/>
                <a:gd name="T69" fmla="*/ 150 h 210"/>
                <a:gd name="T70" fmla="*/ 204 w 204"/>
                <a:gd name="T71" fmla="*/ 156 h 210"/>
                <a:gd name="T72" fmla="*/ 198 w 204"/>
                <a:gd name="T73" fmla="*/ 168 h 210"/>
                <a:gd name="T74" fmla="*/ 192 w 204"/>
                <a:gd name="T75" fmla="*/ 180 h 210"/>
                <a:gd name="T76" fmla="*/ 192 w 204"/>
                <a:gd name="T77" fmla="*/ 198 h 210"/>
                <a:gd name="T78" fmla="*/ 186 w 204"/>
                <a:gd name="T79" fmla="*/ 204 h 210"/>
                <a:gd name="T80" fmla="*/ 162 w 204"/>
                <a:gd name="T81" fmla="*/ 198 h 210"/>
                <a:gd name="T82" fmla="*/ 150 w 204"/>
                <a:gd name="T83" fmla="*/ 192 h 210"/>
                <a:gd name="T84" fmla="*/ 138 w 204"/>
                <a:gd name="T85" fmla="*/ 186 h 210"/>
                <a:gd name="T86" fmla="*/ 126 w 204"/>
                <a:gd name="T87" fmla="*/ 180 h 210"/>
                <a:gd name="T88" fmla="*/ 114 w 204"/>
                <a:gd name="T89" fmla="*/ 174 h 210"/>
                <a:gd name="T90" fmla="*/ 102 w 204"/>
                <a:gd name="T91" fmla="*/ 162 h 210"/>
                <a:gd name="T92" fmla="*/ 96 w 204"/>
                <a:gd name="T93" fmla="*/ 162 h 210"/>
                <a:gd name="T94" fmla="*/ 90 w 204"/>
                <a:gd name="T95" fmla="*/ 150 h 210"/>
                <a:gd name="T96" fmla="*/ 96 w 204"/>
                <a:gd name="T97" fmla="*/ 156 h 210"/>
                <a:gd name="T98" fmla="*/ 96 w 204"/>
                <a:gd name="T99" fmla="*/ 150 h 210"/>
                <a:gd name="T100" fmla="*/ 78 w 204"/>
                <a:gd name="T101" fmla="*/ 144 h 210"/>
                <a:gd name="T102" fmla="*/ 72 w 204"/>
                <a:gd name="T103" fmla="*/ 132 h 210"/>
                <a:gd name="T104" fmla="*/ 72 w 204"/>
                <a:gd name="T105" fmla="*/ 126 h 210"/>
                <a:gd name="T106" fmla="*/ 66 w 204"/>
                <a:gd name="T107" fmla="*/ 126 h 210"/>
                <a:gd name="T108" fmla="*/ 60 w 204"/>
                <a:gd name="T109" fmla="*/ 126 h 210"/>
                <a:gd name="T110" fmla="*/ 48 w 204"/>
                <a:gd name="T111" fmla="*/ 114 h 210"/>
                <a:gd name="T112" fmla="*/ 30 w 204"/>
                <a:gd name="T113" fmla="*/ 108 h 210"/>
                <a:gd name="T114" fmla="*/ 36 w 204"/>
                <a:gd name="T115" fmla="*/ 108 h 210"/>
                <a:gd name="T116" fmla="*/ 24 w 204"/>
                <a:gd name="T117" fmla="*/ 102 h 210"/>
                <a:gd name="T118" fmla="*/ 6 w 204"/>
                <a:gd name="T119" fmla="*/ 90 h 210"/>
                <a:gd name="T120" fmla="*/ 0 w 204"/>
                <a:gd name="T121" fmla="*/ 84 h 210"/>
                <a:gd name="T122" fmla="*/ 0 w 204"/>
                <a:gd name="T123" fmla="*/ 78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4"/>
                <a:gd name="T187" fmla="*/ 0 h 210"/>
                <a:gd name="T188" fmla="*/ 204 w 204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4" h="210">
                  <a:moveTo>
                    <a:pt x="0" y="78"/>
                  </a:moveTo>
                  <a:lnTo>
                    <a:pt x="6" y="7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54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2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74" y="198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0" y="192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6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2050" y="1892"/>
              <a:ext cx="87" cy="214"/>
            </a:xfrm>
            <a:custGeom>
              <a:avLst/>
              <a:gdLst>
                <a:gd name="T0" fmla="*/ 36 w 102"/>
                <a:gd name="T1" fmla="*/ 6 h 252"/>
                <a:gd name="T2" fmla="*/ 42 w 102"/>
                <a:gd name="T3" fmla="*/ 12 h 252"/>
                <a:gd name="T4" fmla="*/ 54 w 102"/>
                <a:gd name="T5" fmla="*/ 18 h 252"/>
                <a:gd name="T6" fmla="*/ 48 w 102"/>
                <a:gd name="T7" fmla="*/ 30 h 252"/>
                <a:gd name="T8" fmla="*/ 48 w 102"/>
                <a:gd name="T9" fmla="*/ 42 h 252"/>
                <a:gd name="T10" fmla="*/ 66 w 102"/>
                <a:gd name="T11" fmla="*/ 54 h 252"/>
                <a:gd name="T12" fmla="*/ 78 w 102"/>
                <a:gd name="T13" fmla="*/ 72 h 252"/>
                <a:gd name="T14" fmla="*/ 78 w 102"/>
                <a:gd name="T15" fmla="*/ 84 h 252"/>
                <a:gd name="T16" fmla="*/ 84 w 102"/>
                <a:gd name="T17" fmla="*/ 96 h 252"/>
                <a:gd name="T18" fmla="*/ 90 w 102"/>
                <a:gd name="T19" fmla="*/ 108 h 252"/>
                <a:gd name="T20" fmla="*/ 90 w 102"/>
                <a:gd name="T21" fmla="*/ 120 h 252"/>
                <a:gd name="T22" fmla="*/ 90 w 102"/>
                <a:gd name="T23" fmla="*/ 132 h 252"/>
                <a:gd name="T24" fmla="*/ 90 w 102"/>
                <a:gd name="T25" fmla="*/ 144 h 252"/>
                <a:gd name="T26" fmla="*/ 90 w 102"/>
                <a:gd name="T27" fmla="*/ 168 h 252"/>
                <a:gd name="T28" fmla="*/ 90 w 102"/>
                <a:gd name="T29" fmla="*/ 180 h 252"/>
                <a:gd name="T30" fmla="*/ 96 w 102"/>
                <a:gd name="T31" fmla="*/ 186 h 252"/>
                <a:gd name="T32" fmla="*/ 90 w 102"/>
                <a:gd name="T33" fmla="*/ 192 h 252"/>
                <a:gd name="T34" fmla="*/ 90 w 102"/>
                <a:gd name="T35" fmla="*/ 216 h 252"/>
                <a:gd name="T36" fmla="*/ 90 w 102"/>
                <a:gd name="T37" fmla="*/ 228 h 252"/>
                <a:gd name="T38" fmla="*/ 96 w 102"/>
                <a:gd name="T39" fmla="*/ 234 h 252"/>
                <a:gd name="T40" fmla="*/ 102 w 102"/>
                <a:gd name="T41" fmla="*/ 240 h 252"/>
                <a:gd name="T42" fmla="*/ 102 w 102"/>
                <a:gd name="T43" fmla="*/ 246 h 252"/>
                <a:gd name="T44" fmla="*/ 90 w 102"/>
                <a:gd name="T45" fmla="*/ 246 h 252"/>
                <a:gd name="T46" fmla="*/ 78 w 102"/>
                <a:gd name="T47" fmla="*/ 252 h 252"/>
                <a:gd name="T48" fmla="*/ 66 w 102"/>
                <a:gd name="T49" fmla="*/ 252 h 252"/>
                <a:gd name="T50" fmla="*/ 60 w 102"/>
                <a:gd name="T51" fmla="*/ 246 h 252"/>
                <a:gd name="T52" fmla="*/ 54 w 102"/>
                <a:gd name="T53" fmla="*/ 240 h 252"/>
                <a:gd name="T54" fmla="*/ 48 w 102"/>
                <a:gd name="T55" fmla="*/ 234 h 252"/>
                <a:gd name="T56" fmla="*/ 42 w 102"/>
                <a:gd name="T57" fmla="*/ 228 h 252"/>
                <a:gd name="T58" fmla="*/ 36 w 102"/>
                <a:gd name="T59" fmla="*/ 222 h 252"/>
                <a:gd name="T60" fmla="*/ 36 w 102"/>
                <a:gd name="T61" fmla="*/ 210 h 252"/>
                <a:gd name="T62" fmla="*/ 42 w 102"/>
                <a:gd name="T63" fmla="*/ 198 h 252"/>
                <a:gd name="T64" fmla="*/ 42 w 102"/>
                <a:gd name="T65" fmla="*/ 186 h 252"/>
                <a:gd name="T66" fmla="*/ 36 w 102"/>
                <a:gd name="T67" fmla="*/ 180 h 252"/>
                <a:gd name="T68" fmla="*/ 42 w 102"/>
                <a:gd name="T69" fmla="*/ 174 h 252"/>
                <a:gd name="T70" fmla="*/ 42 w 102"/>
                <a:gd name="T71" fmla="*/ 162 h 252"/>
                <a:gd name="T72" fmla="*/ 42 w 102"/>
                <a:gd name="T73" fmla="*/ 150 h 252"/>
                <a:gd name="T74" fmla="*/ 48 w 102"/>
                <a:gd name="T75" fmla="*/ 144 h 252"/>
                <a:gd name="T76" fmla="*/ 42 w 102"/>
                <a:gd name="T77" fmla="*/ 138 h 252"/>
                <a:gd name="T78" fmla="*/ 36 w 102"/>
                <a:gd name="T79" fmla="*/ 132 h 252"/>
                <a:gd name="T80" fmla="*/ 30 w 102"/>
                <a:gd name="T81" fmla="*/ 126 h 252"/>
                <a:gd name="T82" fmla="*/ 36 w 102"/>
                <a:gd name="T83" fmla="*/ 120 h 252"/>
                <a:gd name="T84" fmla="*/ 30 w 102"/>
                <a:gd name="T85" fmla="*/ 108 h 252"/>
                <a:gd name="T86" fmla="*/ 36 w 102"/>
                <a:gd name="T87" fmla="*/ 102 h 252"/>
                <a:gd name="T88" fmla="*/ 36 w 102"/>
                <a:gd name="T89" fmla="*/ 90 h 252"/>
                <a:gd name="T90" fmla="*/ 30 w 102"/>
                <a:gd name="T91" fmla="*/ 84 h 252"/>
                <a:gd name="T92" fmla="*/ 24 w 102"/>
                <a:gd name="T93" fmla="*/ 90 h 252"/>
                <a:gd name="T94" fmla="*/ 18 w 102"/>
                <a:gd name="T95" fmla="*/ 84 h 252"/>
                <a:gd name="T96" fmla="*/ 24 w 102"/>
                <a:gd name="T97" fmla="*/ 78 h 252"/>
                <a:gd name="T98" fmla="*/ 30 w 102"/>
                <a:gd name="T99" fmla="*/ 72 h 252"/>
                <a:gd name="T100" fmla="*/ 30 w 102"/>
                <a:gd name="T101" fmla="*/ 66 h 252"/>
                <a:gd name="T102" fmla="*/ 30 w 102"/>
                <a:gd name="T103" fmla="*/ 66 h 252"/>
                <a:gd name="T104" fmla="*/ 30 w 102"/>
                <a:gd name="T105" fmla="*/ 54 h 252"/>
                <a:gd name="T106" fmla="*/ 30 w 102"/>
                <a:gd name="T107" fmla="*/ 42 h 252"/>
                <a:gd name="T108" fmla="*/ 24 w 102"/>
                <a:gd name="T109" fmla="*/ 36 h 252"/>
                <a:gd name="T110" fmla="*/ 18 w 102"/>
                <a:gd name="T111" fmla="*/ 30 h 252"/>
                <a:gd name="T112" fmla="*/ 6 w 102"/>
                <a:gd name="T113" fmla="*/ 30 h 252"/>
                <a:gd name="T114" fmla="*/ 6 w 102"/>
                <a:gd name="T115" fmla="*/ 18 h 252"/>
                <a:gd name="T116" fmla="*/ 12 w 102"/>
                <a:gd name="T117" fmla="*/ 6 h 252"/>
                <a:gd name="T118" fmla="*/ 0 w 102"/>
                <a:gd name="T119" fmla="*/ 6 h 2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2"/>
                <a:gd name="T181" fmla="*/ 0 h 252"/>
                <a:gd name="T182" fmla="*/ 102 w 102"/>
                <a:gd name="T183" fmla="*/ 252 h 2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2" h="252">
                  <a:moveTo>
                    <a:pt x="0" y="0"/>
                  </a:move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90" y="156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0" y="246"/>
                  </a:lnTo>
                  <a:lnTo>
                    <a:pt x="84" y="246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91" y="1841"/>
              <a:ext cx="132" cy="260"/>
            </a:xfrm>
            <a:custGeom>
              <a:avLst/>
              <a:gdLst>
                <a:gd name="T0" fmla="*/ 12 w 156"/>
                <a:gd name="T1" fmla="*/ 66 h 306"/>
                <a:gd name="T2" fmla="*/ 12 w 156"/>
                <a:gd name="T3" fmla="*/ 66 h 306"/>
                <a:gd name="T4" fmla="*/ 18 w 156"/>
                <a:gd name="T5" fmla="*/ 54 h 306"/>
                <a:gd name="T6" fmla="*/ 30 w 156"/>
                <a:gd name="T7" fmla="*/ 48 h 306"/>
                <a:gd name="T8" fmla="*/ 48 w 156"/>
                <a:gd name="T9" fmla="*/ 48 h 306"/>
                <a:gd name="T10" fmla="*/ 72 w 156"/>
                <a:gd name="T11" fmla="*/ 42 h 306"/>
                <a:gd name="T12" fmla="*/ 78 w 156"/>
                <a:gd name="T13" fmla="*/ 30 h 306"/>
                <a:gd name="T14" fmla="*/ 78 w 156"/>
                <a:gd name="T15" fmla="*/ 24 h 306"/>
                <a:gd name="T16" fmla="*/ 84 w 156"/>
                <a:gd name="T17" fmla="*/ 24 h 306"/>
                <a:gd name="T18" fmla="*/ 78 w 156"/>
                <a:gd name="T19" fmla="*/ 12 h 306"/>
                <a:gd name="T20" fmla="*/ 90 w 156"/>
                <a:gd name="T21" fmla="*/ 6 h 306"/>
                <a:gd name="T22" fmla="*/ 102 w 156"/>
                <a:gd name="T23" fmla="*/ 0 h 306"/>
                <a:gd name="T24" fmla="*/ 114 w 156"/>
                <a:gd name="T25" fmla="*/ 12 h 306"/>
                <a:gd name="T26" fmla="*/ 126 w 156"/>
                <a:gd name="T27" fmla="*/ 18 h 306"/>
                <a:gd name="T28" fmla="*/ 138 w 156"/>
                <a:gd name="T29" fmla="*/ 30 h 306"/>
                <a:gd name="T30" fmla="*/ 138 w 156"/>
                <a:gd name="T31" fmla="*/ 54 h 306"/>
                <a:gd name="T32" fmla="*/ 150 w 156"/>
                <a:gd name="T33" fmla="*/ 66 h 306"/>
                <a:gd name="T34" fmla="*/ 150 w 156"/>
                <a:gd name="T35" fmla="*/ 84 h 306"/>
                <a:gd name="T36" fmla="*/ 150 w 156"/>
                <a:gd name="T37" fmla="*/ 96 h 306"/>
                <a:gd name="T38" fmla="*/ 138 w 156"/>
                <a:gd name="T39" fmla="*/ 102 h 306"/>
                <a:gd name="T40" fmla="*/ 144 w 156"/>
                <a:gd name="T41" fmla="*/ 114 h 306"/>
                <a:gd name="T42" fmla="*/ 138 w 156"/>
                <a:gd name="T43" fmla="*/ 126 h 306"/>
                <a:gd name="T44" fmla="*/ 126 w 156"/>
                <a:gd name="T45" fmla="*/ 132 h 306"/>
                <a:gd name="T46" fmla="*/ 120 w 156"/>
                <a:gd name="T47" fmla="*/ 150 h 306"/>
                <a:gd name="T48" fmla="*/ 114 w 156"/>
                <a:gd name="T49" fmla="*/ 162 h 306"/>
                <a:gd name="T50" fmla="*/ 102 w 156"/>
                <a:gd name="T51" fmla="*/ 168 h 306"/>
                <a:gd name="T52" fmla="*/ 102 w 156"/>
                <a:gd name="T53" fmla="*/ 174 h 306"/>
                <a:gd name="T54" fmla="*/ 102 w 156"/>
                <a:gd name="T55" fmla="*/ 180 h 306"/>
                <a:gd name="T56" fmla="*/ 96 w 156"/>
                <a:gd name="T57" fmla="*/ 192 h 306"/>
                <a:gd name="T58" fmla="*/ 96 w 156"/>
                <a:gd name="T59" fmla="*/ 210 h 306"/>
                <a:gd name="T60" fmla="*/ 96 w 156"/>
                <a:gd name="T61" fmla="*/ 228 h 306"/>
                <a:gd name="T62" fmla="*/ 102 w 156"/>
                <a:gd name="T63" fmla="*/ 246 h 306"/>
                <a:gd name="T64" fmla="*/ 102 w 156"/>
                <a:gd name="T65" fmla="*/ 258 h 306"/>
                <a:gd name="T66" fmla="*/ 102 w 156"/>
                <a:gd name="T67" fmla="*/ 264 h 306"/>
                <a:gd name="T68" fmla="*/ 96 w 156"/>
                <a:gd name="T69" fmla="*/ 276 h 306"/>
                <a:gd name="T70" fmla="*/ 96 w 156"/>
                <a:gd name="T71" fmla="*/ 282 h 306"/>
                <a:gd name="T72" fmla="*/ 96 w 156"/>
                <a:gd name="T73" fmla="*/ 300 h 306"/>
                <a:gd name="T74" fmla="*/ 72 w 156"/>
                <a:gd name="T75" fmla="*/ 300 h 306"/>
                <a:gd name="T76" fmla="*/ 54 w 156"/>
                <a:gd name="T77" fmla="*/ 306 h 306"/>
                <a:gd name="T78" fmla="*/ 48 w 156"/>
                <a:gd name="T79" fmla="*/ 306 h 306"/>
                <a:gd name="T80" fmla="*/ 54 w 156"/>
                <a:gd name="T81" fmla="*/ 300 h 306"/>
                <a:gd name="T82" fmla="*/ 48 w 156"/>
                <a:gd name="T83" fmla="*/ 288 h 306"/>
                <a:gd name="T84" fmla="*/ 42 w 156"/>
                <a:gd name="T85" fmla="*/ 276 h 306"/>
                <a:gd name="T86" fmla="*/ 42 w 156"/>
                <a:gd name="T87" fmla="*/ 246 h 306"/>
                <a:gd name="T88" fmla="*/ 42 w 156"/>
                <a:gd name="T89" fmla="*/ 240 h 306"/>
                <a:gd name="T90" fmla="*/ 42 w 156"/>
                <a:gd name="T91" fmla="*/ 216 h 306"/>
                <a:gd name="T92" fmla="*/ 42 w 156"/>
                <a:gd name="T93" fmla="*/ 192 h 306"/>
                <a:gd name="T94" fmla="*/ 42 w 156"/>
                <a:gd name="T95" fmla="*/ 174 h 306"/>
                <a:gd name="T96" fmla="*/ 36 w 156"/>
                <a:gd name="T97" fmla="*/ 156 h 306"/>
                <a:gd name="T98" fmla="*/ 30 w 156"/>
                <a:gd name="T99" fmla="*/ 138 h 306"/>
                <a:gd name="T100" fmla="*/ 18 w 156"/>
                <a:gd name="T101" fmla="*/ 114 h 306"/>
                <a:gd name="T102" fmla="*/ 0 w 156"/>
                <a:gd name="T103" fmla="*/ 96 h 306"/>
                <a:gd name="T104" fmla="*/ 6 w 156"/>
                <a:gd name="T105" fmla="*/ 78 h 3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6"/>
                <a:gd name="T160" fmla="*/ 0 h 306"/>
                <a:gd name="T161" fmla="*/ 156 w 156"/>
                <a:gd name="T162" fmla="*/ 306 h 30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6" h="306">
                  <a:moveTo>
                    <a:pt x="6" y="72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26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102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6" y="222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6" y="252"/>
                  </a:lnTo>
                  <a:lnTo>
                    <a:pt x="102" y="258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6" y="282"/>
                  </a:lnTo>
                  <a:lnTo>
                    <a:pt x="102" y="282"/>
                  </a:lnTo>
                  <a:lnTo>
                    <a:pt x="96" y="282"/>
                  </a:lnTo>
                  <a:lnTo>
                    <a:pt x="96" y="288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78" y="300"/>
                  </a:lnTo>
                  <a:lnTo>
                    <a:pt x="72" y="300"/>
                  </a:lnTo>
                  <a:lnTo>
                    <a:pt x="66" y="300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54" y="306"/>
                  </a:lnTo>
                  <a:lnTo>
                    <a:pt x="48" y="300"/>
                  </a:lnTo>
                  <a:lnTo>
                    <a:pt x="54" y="300"/>
                  </a:lnTo>
                  <a:lnTo>
                    <a:pt x="48" y="300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16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0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7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626" y="1372"/>
              <a:ext cx="444" cy="678"/>
            </a:xfrm>
            <a:custGeom>
              <a:avLst/>
              <a:gdLst>
                <a:gd name="T0" fmla="*/ 168 w 522"/>
                <a:gd name="T1" fmla="*/ 24 h 798"/>
                <a:gd name="T2" fmla="*/ 378 w 522"/>
                <a:gd name="T3" fmla="*/ 126 h 798"/>
                <a:gd name="T4" fmla="*/ 522 w 522"/>
                <a:gd name="T5" fmla="*/ 198 h 798"/>
                <a:gd name="T6" fmla="*/ 498 w 522"/>
                <a:gd name="T7" fmla="*/ 390 h 798"/>
                <a:gd name="T8" fmla="*/ 480 w 522"/>
                <a:gd name="T9" fmla="*/ 384 h 798"/>
                <a:gd name="T10" fmla="*/ 474 w 522"/>
                <a:gd name="T11" fmla="*/ 402 h 798"/>
                <a:gd name="T12" fmla="*/ 462 w 522"/>
                <a:gd name="T13" fmla="*/ 420 h 798"/>
                <a:gd name="T14" fmla="*/ 450 w 522"/>
                <a:gd name="T15" fmla="*/ 438 h 798"/>
                <a:gd name="T16" fmla="*/ 444 w 522"/>
                <a:gd name="T17" fmla="*/ 456 h 798"/>
                <a:gd name="T18" fmla="*/ 432 w 522"/>
                <a:gd name="T19" fmla="*/ 474 h 798"/>
                <a:gd name="T20" fmla="*/ 438 w 522"/>
                <a:gd name="T21" fmla="*/ 504 h 798"/>
                <a:gd name="T22" fmla="*/ 420 w 522"/>
                <a:gd name="T23" fmla="*/ 522 h 798"/>
                <a:gd name="T24" fmla="*/ 426 w 522"/>
                <a:gd name="T25" fmla="*/ 540 h 798"/>
                <a:gd name="T26" fmla="*/ 444 w 522"/>
                <a:gd name="T27" fmla="*/ 546 h 798"/>
                <a:gd name="T28" fmla="*/ 456 w 522"/>
                <a:gd name="T29" fmla="*/ 570 h 798"/>
                <a:gd name="T30" fmla="*/ 474 w 522"/>
                <a:gd name="T31" fmla="*/ 606 h 798"/>
                <a:gd name="T32" fmla="*/ 450 w 522"/>
                <a:gd name="T33" fmla="*/ 624 h 798"/>
                <a:gd name="T34" fmla="*/ 438 w 522"/>
                <a:gd name="T35" fmla="*/ 624 h 798"/>
                <a:gd name="T36" fmla="*/ 420 w 522"/>
                <a:gd name="T37" fmla="*/ 630 h 798"/>
                <a:gd name="T38" fmla="*/ 408 w 522"/>
                <a:gd name="T39" fmla="*/ 642 h 798"/>
                <a:gd name="T40" fmla="*/ 408 w 522"/>
                <a:gd name="T41" fmla="*/ 654 h 798"/>
                <a:gd name="T42" fmla="*/ 384 w 522"/>
                <a:gd name="T43" fmla="*/ 672 h 798"/>
                <a:gd name="T44" fmla="*/ 372 w 522"/>
                <a:gd name="T45" fmla="*/ 684 h 798"/>
                <a:gd name="T46" fmla="*/ 354 w 522"/>
                <a:gd name="T47" fmla="*/ 702 h 798"/>
                <a:gd name="T48" fmla="*/ 336 w 522"/>
                <a:gd name="T49" fmla="*/ 714 h 798"/>
                <a:gd name="T50" fmla="*/ 312 w 522"/>
                <a:gd name="T51" fmla="*/ 720 h 798"/>
                <a:gd name="T52" fmla="*/ 276 w 522"/>
                <a:gd name="T53" fmla="*/ 720 h 798"/>
                <a:gd name="T54" fmla="*/ 282 w 522"/>
                <a:gd name="T55" fmla="*/ 738 h 798"/>
                <a:gd name="T56" fmla="*/ 264 w 522"/>
                <a:gd name="T57" fmla="*/ 756 h 798"/>
                <a:gd name="T58" fmla="*/ 210 w 522"/>
                <a:gd name="T59" fmla="*/ 774 h 798"/>
                <a:gd name="T60" fmla="*/ 198 w 522"/>
                <a:gd name="T61" fmla="*/ 774 h 798"/>
                <a:gd name="T62" fmla="*/ 174 w 522"/>
                <a:gd name="T63" fmla="*/ 786 h 798"/>
                <a:gd name="T64" fmla="*/ 168 w 522"/>
                <a:gd name="T65" fmla="*/ 792 h 798"/>
                <a:gd name="T66" fmla="*/ 156 w 522"/>
                <a:gd name="T67" fmla="*/ 780 h 798"/>
                <a:gd name="T68" fmla="*/ 138 w 522"/>
                <a:gd name="T69" fmla="*/ 786 h 798"/>
                <a:gd name="T70" fmla="*/ 114 w 522"/>
                <a:gd name="T71" fmla="*/ 798 h 798"/>
                <a:gd name="T72" fmla="*/ 102 w 522"/>
                <a:gd name="T73" fmla="*/ 780 h 798"/>
                <a:gd name="T74" fmla="*/ 90 w 522"/>
                <a:gd name="T75" fmla="*/ 738 h 798"/>
                <a:gd name="T76" fmla="*/ 60 w 522"/>
                <a:gd name="T77" fmla="*/ 726 h 798"/>
                <a:gd name="T78" fmla="*/ 42 w 522"/>
                <a:gd name="T79" fmla="*/ 702 h 798"/>
                <a:gd name="T80" fmla="*/ 36 w 522"/>
                <a:gd name="T81" fmla="*/ 672 h 798"/>
                <a:gd name="T82" fmla="*/ 72 w 522"/>
                <a:gd name="T83" fmla="*/ 672 h 798"/>
                <a:gd name="T84" fmla="*/ 108 w 522"/>
                <a:gd name="T85" fmla="*/ 672 h 798"/>
                <a:gd name="T86" fmla="*/ 90 w 522"/>
                <a:gd name="T87" fmla="*/ 654 h 798"/>
                <a:gd name="T88" fmla="*/ 84 w 522"/>
                <a:gd name="T89" fmla="*/ 624 h 798"/>
                <a:gd name="T90" fmla="*/ 84 w 522"/>
                <a:gd name="T91" fmla="*/ 600 h 798"/>
                <a:gd name="T92" fmla="*/ 78 w 522"/>
                <a:gd name="T93" fmla="*/ 582 h 798"/>
                <a:gd name="T94" fmla="*/ 78 w 522"/>
                <a:gd name="T95" fmla="*/ 582 h 798"/>
                <a:gd name="T96" fmla="*/ 72 w 522"/>
                <a:gd name="T97" fmla="*/ 564 h 798"/>
                <a:gd name="T98" fmla="*/ 66 w 522"/>
                <a:gd name="T99" fmla="*/ 534 h 798"/>
                <a:gd name="T100" fmla="*/ 30 w 522"/>
                <a:gd name="T101" fmla="*/ 516 h 798"/>
                <a:gd name="T102" fmla="*/ 0 w 522"/>
                <a:gd name="T103" fmla="*/ 450 h 798"/>
                <a:gd name="T104" fmla="*/ 18 w 522"/>
                <a:gd name="T105" fmla="*/ 426 h 798"/>
                <a:gd name="T106" fmla="*/ 60 w 522"/>
                <a:gd name="T107" fmla="*/ 372 h 798"/>
                <a:gd name="T108" fmla="*/ 108 w 522"/>
                <a:gd name="T109" fmla="*/ 216 h 798"/>
                <a:gd name="T110" fmla="*/ 126 w 522"/>
                <a:gd name="T111" fmla="*/ 156 h 798"/>
                <a:gd name="T112" fmla="*/ 102 w 522"/>
                <a:gd name="T113" fmla="*/ 126 h 798"/>
                <a:gd name="T114" fmla="*/ 84 w 522"/>
                <a:gd name="T115" fmla="*/ 54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2"/>
                <a:gd name="T175" fmla="*/ 0 h 798"/>
                <a:gd name="T176" fmla="*/ 522 w 522"/>
                <a:gd name="T177" fmla="*/ 798 h 79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417" y="1810"/>
              <a:ext cx="326" cy="484"/>
            </a:xfrm>
            <a:custGeom>
              <a:avLst/>
              <a:gdLst>
                <a:gd name="T0" fmla="*/ 18 w 384"/>
                <a:gd name="T1" fmla="*/ 396 h 570"/>
                <a:gd name="T2" fmla="*/ 24 w 384"/>
                <a:gd name="T3" fmla="*/ 360 h 570"/>
                <a:gd name="T4" fmla="*/ 48 w 384"/>
                <a:gd name="T5" fmla="*/ 336 h 570"/>
                <a:gd name="T6" fmla="*/ 60 w 384"/>
                <a:gd name="T7" fmla="*/ 330 h 570"/>
                <a:gd name="T8" fmla="*/ 72 w 384"/>
                <a:gd name="T9" fmla="*/ 306 h 570"/>
                <a:gd name="T10" fmla="*/ 102 w 384"/>
                <a:gd name="T11" fmla="*/ 300 h 570"/>
                <a:gd name="T12" fmla="*/ 120 w 384"/>
                <a:gd name="T13" fmla="*/ 312 h 570"/>
                <a:gd name="T14" fmla="*/ 138 w 384"/>
                <a:gd name="T15" fmla="*/ 324 h 570"/>
                <a:gd name="T16" fmla="*/ 150 w 384"/>
                <a:gd name="T17" fmla="*/ 312 h 570"/>
                <a:gd name="T18" fmla="*/ 168 w 384"/>
                <a:gd name="T19" fmla="*/ 300 h 570"/>
                <a:gd name="T20" fmla="*/ 174 w 384"/>
                <a:gd name="T21" fmla="*/ 270 h 570"/>
                <a:gd name="T22" fmla="*/ 186 w 384"/>
                <a:gd name="T23" fmla="*/ 240 h 570"/>
                <a:gd name="T24" fmla="*/ 210 w 384"/>
                <a:gd name="T25" fmla="*/ 216 h 570"/>
                <a:gd name="T26" fmla="*/ 216 w 384"/>
                <a:gd name="T27" fmla="*/ 186 h 570"/>
                <a:gd name="T28" fmla="*/ 240 w 384"/>
                <a:gd name="T29" fmla="*/ 168 h 570"/>
                <a:gd name="T30" fmla="*/ 246 w 384"/>
                <a:gd name="T31" fmla="*/ 150 h 570"/>
                <a:gd name="T32" fmla="*/ 252 w 384"/>
                <a:gd name="T33" fmla="*/ 114 h 570"/>
                <a:gd name="T34" fmla="*/ 276 w 384"/>
                <a:gd name="T35" fmla="*/ 90 h 570"/>
                <a:gd name="T36" fmla="*/ 306 w 384"/>
                <a:gd name="T37" fmla="*/ 78 h 570"/>
                <a:gd name="T38" fmla="*/ 306 w 384"/>
                <a:gd name="T39" fmla="*/ 48 h 570"/>
                <a:gd name="T40" fmla="*/ 276 w 384"/>
                <a:gd name="T41" fmla="*/ 0 h 570"/>
                <a:gd name="T42" fmla="*/ 306 w 384"/>
                <a:gd name="T43" fmla="*/ 24 h 570"/>
                <a:gd name="T44" fmla="*/ 324 w 384"/>
                <a:gd name="T45" fmla="*/ 54 h 570"/>
                <a:gd name="T46" fmla="*/ 330 w 384"/>
                <a:gd name="T47" fmla="*/ 66 h 570"/>
                <a:gd name="T48" fmla="*/ 330 w 384"/>
                <a:gd name="T49" fmla="*/ 72 h 570"/>
                <a:gd name="T50" fmla="*/ 324 w 384"/>
                <a:gd name="T51" fmla="*/ 108 h 570"/>
                <a:gd name="T52" fmla="*/ 336 w 384"/>
                <a:gd name="T53" fmla="*/ 138 h 570"/>
                <a:gd name="T54" fmla="*/ 348 w 384"/>
                <a:gd name="T55" fmla="*/ 156 h 570"/>
                <a:gd name="T56" fmla="*/ 306 w 384"/>
                <a:gd name="T57" fmla="*/ 156 h 570"/>
                <a:gd name="T58" fmla="*/ 276 w 384"/>
                <a:gd name="T59" fmla="*/ 168 h 570"/>
                <a:gd name="T60" fmla="*/ 300 w 384"/>
                <a:gd name="T61" fmla="*/ 204 h 570"/>
                <a:gd name="T62" fmla="*/ 330 w 384"/>
                <a:gd name="T63" fmla="*/ 222 h 570"/>
                <a:gd name="T64" fmla="*/ 348 w 384"/>
                <a:gd name="T65" fmla="*/ 264 h 570"/>
                <a:gd name="T66" fmla="*/ 342 w 384"/>
                <a:gd name="T67" fmla="*/ 288 h 570"/>
                <a:gd name="T68" fmla="*/ 324 w 384"/>
                <a:gd name="T69" fmla="*/ 318 h 570"/>
                <a:gd name="T70" fmla="*/ 300 w 384"/>
                <a:gd name="T71" fmla="*/ 348 h 570"/>
                <a:gd name="T72" fmla="*/ 306 w 384"/>
                <a:gd name="T73" fmla="*/ 372 h 570"/>
                <a:gd name="T74" fmla="*/ 306 w 384"/>
                <a:gd name="T75" fmla="*/ 390 h 570"/>
                <a:gd name="T76" fmla="*/ 312 w 384"/>
                <a:gd name="T77" fmla="*/ 426 h 570"/>
                <a:gd name="T78" fmla="*/ 330 w 384"/>
                <a:gd name="T79" fmla="*/ 450 h 570"/>
                <a:gd name="T80" fmla="*/ 360 w 384"/>
                <a:gd name="T81" fmla="*/ 498 h 570"/>
                <a:gd name="T82" fmla="*/ 378 w 384"/>
                <a:gd name="T83" fmla="*/ 522 h 570"/>
                <a:gd name="T84" fmla="*/ 378 w 384"/>
                <a:gd name="T85" fmla="*/ 540 h 570"/>
                <a:gd name="T86" fmla="*/ 372 w 384"/>
                <a:gd name="T87" fmla="*/ 564 h 570"/>
                <a:gd name="T88" fmla="*/ 342 w 384"/>
                <a:gd name="T89" fmla="*/ 552 h 570"/>
                <a:gd name="T90" fmla="*/ 318 w 384"/>
                <a:gd name="T91" fmla="*/ 552 h 570"/>
                <a:gd name="T92" fmla="*/ 300 w 384"/>
                <a:gd name="T93" fmla="*/ 540 h 570"/>
                <a:gd name="T94" fmla="*/ 234 w 384"/>
                <a:gd name="T95" fmla="*/ 540 h 570"/>
                <a:gd name="T96" fmla="*/ 192 w 384"/>
                <a:gd name="T97" fmla="*/ 540 h 570"/>
                <a:gd name="T98" fmla="*/ 156 w 384"/>
                <a:gd name="T99" fmla="*/ 534 h 570"/>
                <a:gd name="T100" fmla="*/ 144 w 384"/>
                <a:gd name="T101" fmla="*/ 534 h 570"/>
                <a:gd name="T102" fmla="*/ 132 w 384"/>
                <a:gd name="T103" fmla="*/ 546 h 570"/>
                <a:gd name="T104" fmla="*/ 66 w 384"/>
                <a:gd name="T105" fmla="*/ 540 h 570"/>
                <a:gd name="T106" fmla="*/ 72 w 384"/>
                <a:gd name="T107" fmla="*/ 510 h 570"/>
                <a:gd name="T108" fmla="*/ 60 w 384"/>
                <a:gd name="T109" fmla="*/ 480 h 570"/>
                <a:gd name="T110" fmla="*/ 60 w 384"/>
                <a:gd name="T111" fmla="*/ 462 h 570"/>
                <a:gd name="T112" fmla="*/ 54 w 384"/>
                <a:gd name="T113" fmla="*/ 450 h 570"/>
                <a:gd name="T114" fmla="*/ 36 w 384"/>
                <a:gd name="T115" fmla="*/ 450 h 570"/>
                <a:gd name="T116" fmla="*/ 18 w 384"/>
                <a:gd name="T117" fmla="*/ 426 h 570"/>
                <a:gd name="T118" fmla="*/ 12 w 384"/>
                <a:gd name="T119" fmla="*/ 426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570"/>
                <a:gd name="T182" fmla="*/ 384 w 384"/>
                <a:gd name="T183" fmla="*/ 570 h 57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4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667" y="1897"/>
              <a:ext cx="550" cy="372"/>
            </a:xfrm>
            <a:custGeom>
              <a:avLst/>
              <a:gdLst>
                <a:gd name="T0" fmla="*/ 90 w 648"/>
                <a:gd name="T1" fmla="*/ 174 h 438"/>
                <a:gd name="T2" fmla="*/ 108 w 648"/>
                <a:gd name="T3" fmla="*/ 156 h 438"/>
                <a:gd name="T4" fmla="*/ 126 w 648"/>
                <a:gd name="T5" fmla="*/ 174 h 438"/>
                <a:gd name="T6" fmla="*/ 150 w 648"/>
                <a:gd name="T7" fmla="*/ 162 h 438"/>
                <a:gd name="T8" fmla="*/ 174 w 648"/>
                <a:gd name="T9" fmla="*/ 156 h 438"/>
                <a:gd name="T10" fmla="*/ 228 w 648"/>
                <a:gd name="T11" fmla="*/ 132 h 438"/>
                <a:gd name="T12" fmla="*/ 228 w 648"/>
                <a:gd name="T13" fmla="*/ 108 h 438"/>
                <a:gd name="T14" fmla="*/ 270 w 648"/>
                <a:gd name="T15" fmla="*/ 102 h 438"/>
                <a:gd name="T16" fmla="*/ 300 w 648"/>
                <a:gd name="T17" fmla="*/ 90 h 438"/>
                <a:gd name="T18" fmla="*/ 324 w 648"/>
                <a:gd name="T19" fmla="*/ 72 h 438"/>
                <a:gd name="T20" fmla="*/ 342 w 648"/>
                <a:gd name="T21" fmla="*/ 54 h 438"/>
                <a:gd name="T22" fmla="*/ 366 w 648"/>
                <a:gd name="T23" fmla="*/ 36 h 438"/>
                <a:gd name="T24" fmla="*/ 366 w 648"/>
                <a:gd name="T25" fmla="*/ 12 h 438"/>
                <a:gd name="T26" fmla="*/ 396 w 648"/>
                <a:gd name="T27" fmla="*/ 6 h 438"/>
                <a:gd name="T28" fmla="*/ 420 w 648"/>
                <a:gd name="T29" fmla="*/ 6 h 438"/>
                <a:gd name="T30" fmla="*/ 444 w 648"/>
                <a:gd name="T31" fmla="*/ 30 h 438"/>
                <a:gd name="T32" fmla="*/ 456 w 648"/>
                <a:gd name="T33" fmla="*/ 90 h 438"/>
                <a:gd name="T34" fmla="*/ 456 w 648"/>
                <a:gd name="T35" fmla="*/ 114 h 438"/>
                <a:gd name="T36" fmla="*/ 486 w 648"/>
                <a:gd name="T37" fmla="*/ 114 h 438"/>
                <a:gd name="T38" fmla="*/ 504 w 648"/>
                <a:gd name="T39" fmla="*/ 138 h 438"/>
                <a:gd name="T40" fmla="*/ 528 w 648"/>
                <a:gd name="T41" fmla="*/ 156 h 438"/>
                <a:gd name="T42" fmla="*/ 540 w 648"/>
                <a:gd name="T43" fmla="*/ 180 h 438"/>
                <a:gd name="T44" fmla="*/ 564 w 648"/>
                <a:gd name="T45" fmla="*/ 198 h 438"/>
                <a:gd name="T46" fmla="*/ 594 w 648"/>
                <a:gd name="T47" fmla="*/ 222 h 438"/>
                <a:gd name="T48" fmla="*/ 600 w 648"/>
                <a:gd name="T49" fmla="*/ 252 h 438"/>
                <a:gd name="T50" fmla="*/ 636 w 648"/>
                <a:gd name="T51" fmla="*/ 264 h 438"/>
                <a:gd name="T52" fmla="*/ 648 w 648"/>
                <a:gd name="T53" fmla="*/ 300 h 438"/>
                <a:gd name="T54" fmla="*/ 618 w 648"/>
                <a:gd name="T55" fmla="*/ 300 h 438"/>
                <a:gd name="T56" fmla="*/ 606 w 648"/>
                <a:gd name="T57" fmla="*/ 300 h 438"/>
                <a:gd name="T58" fmla="*/ 588 w 648"/>
                <a:gd name="T59" fmla="*/ 294 h 438"/>
                <a:gd name="T60" fmla="*/ 576 w 648"/>
                <a:gd name="T61" fmla="*/ 294 h 438"/>
                <a:gd name="T62" fmla="*/ 558 w 648"/>
                <a:gd name="T63" fmla="*/ 282 h 438"/>
                <a:gd name="T64" fmla="*/ 540 w 648"/>
                <a:gd name="T65" fmla="*/ 288 h 438"/>
                <a:gd name="T66" fmla="*/ 528 w 648"/>
                <a:gd name="T67" fmla="*/ 300 h 438"/>
                <a:gd name="T68" fmla="*/ 498 w 648"/>
                <a:gd name="T69" fmla="*/ 294 h 438"/>
                <a:gd name="T70" fmla="*/ 486 w 648"/>
                <a:gd name="T71" fmla="*/ 306 h 438"/>
                <a:gd name="T72" fmla="*/ 456 w 648"/>
                <a:gd name="T73" fmla="*/ 312 h 438"/>
                <a:gd name="T74" fmla="*/ 432 w 648"/>
                <a:gd name="T75" fmla="*/ 312 h 438"/>
                <a:gd name="T76" fmla="*/ 414 w 648"/>
                <a:gd name="T77" fmla="*/ 324 h 438"/>
                <a:gd name="T78" fmla="*/ 396 w 648"/>
                <a:gd name="T79" fmla="*/ 342 h 438"/>
                <a:gd name="T80" fmla="*/ 366 w 648"/>
                <a:gd name="T81" fmla="*/ 336 h 438"/>
                <a:gd name="T82" fmla="*/ 324 w 648"/>
                <a:gd name="T83" fmla="*/ 330 h 438"/>
                <a:gd name="T84" fmla="*/ 288 w 648"/>
                <a:gd name="T85" fmla="*/ 312 h 438"/>
                <a:gd name="T86" fmla="*/ 252 w 648"/>
                <a:gd name="T87" fmla="*/ 294 h 438"/>
                <a:gd name="T88" fmla="*/ 222 w 648"/>
                <a:gd name="T89" fmla="*/ 318 h 438"/>
                <a:gd name="T90" fmla="*/ 210 w 648"/>
                <a:gd name="T91" fmla="*/ 348 h 438"/>
                <a:gd name="T92" fmla="*/ 204 w 648"/>
                <a:gd name="T93" fmla="*/ 366 h 438"/>
                <a:gd name="T94" fmla="*/ 168 w 648"/>
                <a:gd name="T95" fmla="*/ 372 h 438"/>
                <a:gd name="T96" fmla="*/ 126 w 648"/>
                <a:gd name="T97" fmla="*/ 372 h 438"/>
                <a:gd name="T98" fmla="*/ 108 w 648"/>
                <a:gd name="T99" fmla="*/ 396 h 438"/>
                <a:gd name="T100" fmla="*/ 84 w 648"/>
                <a:gd name="T101" fmla="*/ 414 h 438"/>
                <a:gd name="T102" fmla="*/ 48 w 648"/>
                <a:gd name="T103" fmla="*/ 372 h 438"/>
                <a:gd name="T104" fmla="*/ 30 w 648"/>
                <a:gd name="T105" fmla="*/ 336 h 438"/>
                <a:gd name="T106" fmla="*/ 12 w 648"/>
                <a:gd name="T107" fmla="*/ 306 h 438"/>
                <a:gd name="T108" fmla="*/ 12 w 648"/>
                <a:gd name="T109" fmla="*/ 270 h 438"/>
                <a:gd name="T110" fmla="*/ 0 w 648"/>
                <a:gd name="T111" fmla="*/ 246 h 438"/>
                <a:gd name="T112" fmla="*/ 30 w 648"/>
                <a:gd name="T113" fmla="*/ 216 h 438"/>
                <a:gd name="T114" fmla="*/ 48 w 648"/>
                <a:gd name="T115" fmla="*/ 180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438"/>
                <a:gd name="T176" fmla="*/ 648 w 648"/>
                <a:gd name="T177" fmla="*/ 438 h 43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5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2172" y="1779"/>
              <a:ext cx="505" cy="403"/>
            </a:xfrm>
            <a:custGeom>
              <a:avLst/>
              <a:gdLst>
                <a:gd name="T0" fmla="*/ 48 w 594"/>
                <a:gd name="T1" fmla="*/ 66 h 474"/>
                <a:gd name="T2" fmla="*/ 90 w 594"/>
                <a:gd name="T3" fmla="*/ 6 h 474"/>
                <a:gd name="T4" fmla="*/ 138 w 594"/>
                <a:gd name="T5" fmla="*/ 0 h 474"/>
                <a:gd name="T6" fmla="*/ 198 w 594"/>
                <a:gd name="T7" fmla="*/ 24 h 474"/>
                <a:gd name="T8" fmla="*/ 246 w 594"/>
                <a:gd name="T9" fmla="*/ 30 h 474"/>
                <a:gd name="T10" fmla="*/ 288 w 594"/>
                <a:gd name="T11" fmla="*/ 36 h 474"/>
                <a:gd name="T12" fmla="*/ 330 w 594"/>
                <a:gd name="T13" fmla="*/ 48 h 474"/>
                <a:gd name="T14" fmla="*/ 372 w 594"/>
                <a:gd name="T15" fmla="*/ 30 h 474"/>
                <a:gd name="T16" fmla="*/ 444 w 594"/>
                <a:gd name="T17" fmla="*/ 24 h 474"/>
                <a:gd name="T18" fmla="*/ 468 w 594"/>
                <a:gd name="T19" fmla="*/ 36 h 474"/>
                <a:gd name="T20" fmla="*/ 492 w 594"/>
                <a:gd name="T21" fmla="*/ 30 h 474"/>
                <a:gd name="T22" fmla="*/ 510 w 594"/>
                <a:gd name="T23" fmla="*/ 18 h 474"/>
                <a:gd name="T24" fmla="*/ 516 w 594"/>
                <a:gd name="T25" fmla="*/ 18 h 474"/>
                <a:gd name="T26" fmla="*/ 534 w 594"/>
                <a:gd name="T27" fmla="*/ 6 h 474"/>
                <a:gd name="T28" fmla="*/ 570 w 594"/>
                <a:gd name="T29" fmla="*/ 72 h 474"/>
                <a:gd name="T30" fmla="*/ 594 w 594"/>
                <a:gd name="T31" fmla="*/ 96 h 474"/>
                <a:gd name="T32" fmla="*/ 588 w 594"/>
                <a:gd name="T33" fmla="*/ 120 h 474"/>
                <a:gd name="T34" fmla="*/ 558 w 594"/>
                <a:gd name="T35" fmla="*/ 132 h 474"/>
                <a:gd name="T36" fmla="*/ 540 w 594"/>
                <a:gd name="T37" fmla="*/ 162 h 474"/>
                <a:gd name="T38" fmla="*/ 522 w 594"/>
                <a:gd name="T39" fmla="*/ 192 h 474"/>
                <a:gd name="T40" fmla="*/ 522 w 594"/>
                <a:gd name="T41" fmla="*/ 210 h 474"/>
                <a:gd name="T42" fmla="*/ 504 w 594"/>
                <a:gd name="T43" fmla="*/ 234 h 474"/>
                <a:gd name="T44" fmla="*/ 492 w 594"/>
                <a:gd name="T45" fmla="*/ 258 h 474"/>
                <a:gd name="T46" fmla="*/ 474 w 594"/>
                <a:gd name="T47" fmla="*/ 288 h 474"/>
                <a:gd name="T48" fmla="*/ 462 w 594"/>
                <a:gd name="T49" fmla="*/ 318 h 474"/>
                <a:gd name="T50" fmla="*/ 444 w 594"/>
                <a:gd name="T51" fmla="*/ 336 h 474"/>
                <a:gd name="T52" fmla="*/ 438 w 594"/>
                <a:gd name="T53" fmla="*/ 354 h 474"/>
                <a:gd name="T54" fmla="*/ 426 w 594"/>
                <a:gd name="T55" fmla="*/ 360 h 474"/>
                <a:gd name="T56" fmla="*/ 402 w 594"/>
                <a:gd name="T57" fmla="*/ 342 h 474"/>
                <a:gd name="T58" fmla="*/ 384 w 594"/>
                <a:gd name="T59" fmla="*/ 342 h 474"/>
                <a:gd name="T60" fmla="*/ 354 w 594"/>
                <a:gd name="T61" fmla="*/ 354 h 474"/>
                <a:gd name="T62" fmla="*/ 348 w 594"/>
                <a:gd name="T63" fmla="*/ 366 h 474"/>
                <a:gd name="T64" fmla="*/ 330 w 594"/>
                <a:gd name="T65" fmla="*/ 378 h 474"/>
                <a:gd name="T66" fmla="*/ 306 w 594"/>
                <a:gd name="T67" fmla="*/ 402 h 474"/>
                <a:gd name="T68" fmla="*/ 300 w 594"/>
                <a:gd name="T69" fmla="*/ 438 h 474"/>
                <a:gd name="T70" fmla="*/ 282 w 594"/>
                <a:gd name="T71" fmla="*/ 450 h 474"/>
                <a:gd name="T72" fmla="*/ 276 w 594"/>
                <a:gd name="T73" fmla="*/ 462 h 474"/>
                <a:gd name="T74" fmla="*/ 240 w 594"/>
                <a:gd name="T75" fmla="*/ 468 h 474"/>
                <a:gd name="T76" fmla="*/ 210 w 594"/>
                <a:gd name="T77" fmla="*/ 468 h 474"/>
                <a:gd name="T78" fmla="*/ 186 w 594"/>
                <a:gd name="T79" fmla="*/ 474 h 474"/>
                <a:gd name="T80" fmla="*/ 150 w 594"/>
                <a:gd name="T81" fmla="*/ 462 h 474"/>
                <a:gd name="T82" fmla="*/ 132 w 594"/>
                <a:gd name="T83" fmla="*/ 426 h 474"/>
                <a:gd name="T84" fmla="*/ 120 w 594"/>
                <a:gd name="T85" fmla="*/ 402 h 474"/>
                <a:gd name="T86" fmla="*/ 78 w 594"/>
                <a:gd name="T87" fmla="*/ 372 h 474"/>
                <a:gd name="T88" fmla="*/ 36 w 594"/>
                <a:gd name="T89" fmla="*/ 372 h 474"/>
                <a:gd name="T90" fmla="*/ 0 w 594"/>
                <a:gd name="T91" fmla="*/ 360 h 474"/>
                <a:gd name="T92" fmla="*/ 6 w 594"/>
                <a:gd name="T93" fmla="*/ 336 h 474"/>
                <a:gd name="T94" fmla="*/ 0 w 594"/>
                <a:gd name="T95" fmla="*/ 312 h 474"/>
                <a:gd name="T96" fmla="*/ 0 w 594"/>
                <a:gd name="T97" fmla="*/ 270 h 474"/>
                <a:gd name="T98" fmla="*/ 6 w 594"/>
                <a:gd name="T99" fmla="*/ 246 h 474"/>
                <a:gd name="T100" fmla="*/ 18 w 594"/>
                <a:gd name="T101" fmla="*/ 228 h 474"/>
                <a:gd name="T102" fmla="*/ 36 w 594"/>
                <a:gd name="T103" fmla="*/ 198 h 474"/>
                <a:gd name="T104" fmla="*/ 42 w 594"/>
                <a:gd name="T105" fmla="*/ 174 h 474"/>
                <a:gd name="T106" fmla="*/ 54 w 594"/>
                <a:gd name="T107" fmla="*/ 150 h 474"/>
                <a:gd name="T108" fmla="*/ 42 w 594"/>
                <a:gd name="T109" fmla="*/ 108 h 4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94"/>
                <a:gd name="T166" fmla="*/ 0 h 474"/>
                <a:gd name="T167" fmla="*/ 594 w 594"/>
                <a:gd name="T168" fmla="*/ 474 h 47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94" h="474">
                  <a:moveTo>
                    <a:pt x="42" y="108"/>
                  </a:move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2" y="18"/>
                  </a:lnTo>
                  <a:lnTo>
                    <a:pt x="90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50" y="0"/>
                  </a:lnTo>
                  <a:lnTo>
                    <a:pt x="168" y="6"/>
                  </a:lnTo>
                  <a:lnTo>
                    <a:pt x="174" y="12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12"/>
                  </a:lnTo>
                  <a:lnTo>
                    <a:pt x="198" y="24"/>
                  </a:lnTo>
                  <a:lnTo>
                    <a:pt x="204" y="36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36"/>
                  </a:lnTo>
                  <a:lnTo>
                    <a:pt x="234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64" y="24"/>
                  </a:lnTo>
                  <a:lnTo>
                    <a:pt x="270" y="30"/>
                  </a:lnTo>
                  <a:lnTo>
                    <a:pt x="276" y="30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84" y="30"/>
                  </a:lnTo>
                  <a:lnTo>
                    <a:pt x="396" y="24"/>
                  </a:lnTo>
                  <a:lnTo>
                    <a:pt x="414" y="24"/>
                  </a:lnTo>
                  <a:lnTo>
                    <a:pt x="420" y="24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2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498" y="24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510" y="18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22" y="18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8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46" y="12"/>
                  </a:lnTo>
                  <a:lnTo>
                    <a:pt x="558" y="24"/>
                  </a:lnTo>
                  <a:lnTo>
                    <a:pt x="564" y="36"/>
                  </a:lnTo>
                  <a:lnTo>
                    <a:pt x="570" y="66"/>
                  </a:lnTo>
                  <a:lnTo>
                    <a:pt x="570" y="72"/>
                  </a:lnTo>
                  <a:lnTo>
                    <a:pt x="576" y="72"/>
                  </a:lnTo>
                  <a:lnTo>
                    <a:pt x="582" y="72"/>
                  </a:lnTo>
                  <a:lnTo>
                    <a:pt x="588" y="72"/>
                  </a:lnTo>
                  <a:lnTo>
                    <a:pt x="588" y="78"/>
                  </a:lnTo>
                  <a:lnTo>
                    <a:pt x="594" y="84"/>
                  </a:lnTo>
                  <a:lnTo>
                    <a:pt x="594" y="90"/>
                  </a:lnTo>
                  <a:lnTo>
                    <a:pt x="594" y="96"/>
                  </a:lnTo>
                  <a:lnTo>
                    <a:pt x="594" y="102"/>
                  </a:lnTo>
                  <a:lnTo>
                    <a:pt x="588" y="102"/>
                  </a:lnTo>
                  <a:lnTo>
                    <a:pt x="588" y="108"/>
                  </a:lnTo>
                  <a:lnTo>
                    <a:pt x="594" y="108"/>
                  </a:lnTo>
                  <a:lnTo>
                    <a:pt x="594" y="114"/>
                  </a:lnTo>
                  <a:lnTo>
                    <a:pt x="588" y="114"/>
                  </a:lnTo>
                  <a:lnTo>
                    <a:pt x="588" y="120"/>
                  </a:lnTo>
                  <a:lnTo>
                    <a:pt x="582" y="120"/>
                  </a:lnTo>
                  <a:lnTo>
                    <a:pt x="576" y="120"/>
                  </a:lnTo>
                  <a:lnTo>
                    <a:pt x="576" y="126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26"/>
                  </a:lnTo>
                  <a:lnTo>
                    <a:pt x="558" y="132"/>
                  </a:lnTo>
                  <a:lnTo>
                    <a:pt x="552" y="132"/>
                  </a:lnTo>
                  <a:lnTo>
                    <a:pt x="552" y="138"/>
                  </a:lnTo>
                  <a:lnTo>
                    <a:pt x="546" y="144"/>
                  </a:lnTo>
                  <a:lnTo>
                    <a:pt x="546" y="150"/>
                  </a:lnTo>
                  <a:lnTo>
                    <a:pt x="540" y="150"/>
                  </a:lnTo>
                  <a:lnTo>
                    <a:pt x="540" y="156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28" y="192"/>
                  </a:lnTo>
                  <a:lnTo>
                    <a:pt x="522" y="192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28" y="204"/>
                  </a:lnTo>
                  <a:lnTo>
                    <a:pt x="522" y="204"/>
                  </a:lnTo>
                  <a:lnTo>
                    <a:pt x="522" y="210"/>
                  </a:lnTo>
                  <a:lnTo>
                    <a:pt x="522" y="216"/>
                  </a:lnTo>
                  <a:lnTo>
                    <a:pt x="516" y="216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04" y="240"/>
                  </a:lnTo>
                  <a:lnTo>
                    <a:pt x="504" y="246"/>
                  </a:lnTo>
                  <a:lnTo>
                    <a:pt x="498" y="246"/>
                  </a:lnTo>
                  <a:lnTo>
                    <a:pt x="504" y="252"/>
                  </a:lnTo>
                  <a:lnTo>
                    <a:pt x="498" y="252"/>
                  </a:lnTo>
                  <a:lnTo>
                    <a:pt x="498" y="258"/>
                  </a:lnTo>
                  <a:lnTo>
                    <a:pt x="492" y="258"/>
                  </a:lnTo>
                  <a:lnTo>
                    <a:pt x="486" y="258"/>
                  </a:lnTo>
                  <a:lnTo>
                    <a:pt x="486" y="264"/>
                  </a:lnTo>
                  <a:lnTo>
                    <a:pt x="480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74" y="294"/>
                  </a:lnTo>
                  <a:lnTo>
                    <a:pt x="468" y="294"/>
                  </a:lnTo>
                  <a:lnTo>
                    <a:pt x="468" y="300"/>
                  </a:lnTo>
                  <a:lnTo>
                    <a:pt x="462" y="300"/>
                  </a:lnTo>
                  <a:lnTo>
                    <a:pt x="462" y="306"/>
                  </a:lnTo>
                  <a:lnTo>
                    <a:pt x="462" y="312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30"/>
                  </a:lnTo>
                  <a:lnTo>
                    <a:pt x="456" y="336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44" y="342"/>
                  </a:lnTo>
                  <a:lnTo>
                    <a:pt x="438" y="342"/>
                  </a:lnTo>
                  <a:lnTo>
                    <a:pt x="438" y="348"/>
                  </a:lnTo>
                  <a:lnTo>
                    <a:pt x="444" y="348"/>
                  </a:lnTo>
                  <a:lnTo>
                    <a:pt x="438" y="348"/>
                  </a:lnTo>
                  <a:lnTo>
                    <a:pt x="444" y="354"/>
                  </a:lnTo>
                  <a:lnTo>
                    <a:pt x="438" y="354"/>
                  </a:lnTo>
                  <a:lnTo>
                    <a:pt x="438" y="360"/>
                  </a:lnTo>
                  <a:lnTo>
                    <a:pt x="432" y="360"/>
                  </a:lnTo>
                  <a:lnTo>
                    <a:pt x="432" y="366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20" y="354"/>
                  </a:lnTo>
                  <a:lnTo>
                    <a:pt x="414" y="354"/>
                  </a:lnTo>
                  <a:lnTo>
                    <a:pt x="408" y="354"/>
                  </a:lnTo>
                  <a:lnTo>
                    <a:pt x="408" y="348"/>
                  </a:lnTo>
                  <a:lnTo>
                    <a:pt x="402" y="348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36"/>
                  </a:lnTo>
                  <a:lnTo>
                    <a:pt x="390" y="336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42"/>
                  </a:lnTo>
                  <a:lnTo>
                    <a:pt x="360" y="342"/>
                  </a:lnTo>
                  <a:lnTo>
                    <a:pt x="360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24" y="384"/>
                  </a:lnTo>
                  <a:lnTo>
                    <a:pt x="318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26"/>
                  </a:lnTo>
                  <a:lnTo>
                    <a:pt x="306" y="432"/>
                  </a:lnTo>
                  <a:lnTo>
                    <a:pt x="300" y="432"/>
                  </a:lnTo>
                  <a:lnTo>
                    <a:pt x="300" y="438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64" y="462"/>
                  </a:lnTo>
                  <a:lnTo>
                    <a:pt x="258" y="462"/>
                  </a:lnTo>
                  <a:lnTo>
                    <a:pt x="252" y="462"/>
                  </a:lnTo>
                  <a:lnTo>
                    <a:pt x="246" y="462"/>
                  </a:lnTo>
                  <a:lnTo>
                    <a:pt x="240" y="462"/>
                  </a:lnTo>
                  <a:lnTo>
                    <a:pt x="240" y="468"/>
                  </a:lnTo>
                  <a:lnTo>
                    <a:pt x="234" y="468"/>
                  </a:lnTo>
                  <a:lnTo>
                    <a:pt x="228" y="468"/>
                  </a:lnTo>
                  <a:lnTo>
                    <a:pt x="222" y="468"/>
                  </a:lnTo>
                  <a:lnTo>
                    <a:pt x="222" y="462"/>
                  </a:lnTo>
                  <a:lnTo>
                    <a:pt x="222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04" y="468"/>
                  </a:lnTo>
                  <a:lnTo>
                    <a:pt x="204" y="474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56"/>
                  </a:lnTo>
                  <a:lnTo>
                    <a:pt x="144" y="450"/>
                  </a:lnTo>
                  <a:lnTo>
                    <a:pt x="138" y="450"/>
                  </a:lnTo>
                  <a:lnTo>
                    <a:pt x="138" y="444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32" y="426"/>
                  </a:lnTo>
                  <a:lnTo>
                    <a:pt x="132" y="420"/>
                  </a:lnTo>
                  <a:lnTo>
                    <a:pt x="126" y="420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6" y="414"/>
                  </a:lnTo>
                  <a:lnTo>
                    <a:pt x="120" y="408"/>
                  </a:lnTo>
                  <a:lnTo>
                    <a:pt x="120" y="402"/>
                  </a:lnTo>
                  <a:lnTo>
                    <a:pt x="114" y="402"/>
                  </a:lnTo>
                  <a:lnTo>
                    <a:pt x="114" y="396"/>
                  </a:lnTo>
                  <a:lnTo>
                    <a:pt x="108" y="390"/>
                  </a:lnTo>
                  <a:lnTo>
                    <a:pt x="102" y="384"/>
                  </a:lnTo>
                  <a:lnTo>
                    <a:pt x="90" y="372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12" y="372"/>
                  </a:lnTo>
                  <a:lnTo>
                    <a:pt x="6" y="372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0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6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2" y="114"/>
                  </a:lnTo>
                  <a:lnTo>
                    <a:pt x="42" y="108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6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2427" y="2264"/>
              <a:ext cx="245" cy="270"/>
            </a:xfrm>
            <a:custGeom>
              <a:avLst/>
              <a:gdLst>
                <a:gd name="T0" fmla="*/ 48 w 288"/>
                <a:gd name="T1" fmla="*/ 108 h 318"/>
                <a:gd name="T2" fmla="*/ 54 w 288"/>
                <a:gd name="T3" fmla="*/ 108 h 318"/>
                <a:gd name="T4" fmla="*/ 42 w 288"/>
                <a:gd name="T5" fmla="*/ 102 h 318"/>
                <a:gd name="T6" fmla="*/ 36 w 288"/>
                <a:gd name="T7" fmla="*/ 84 h 318"/>
                <a:gd name="T8" fmla="*/ 42 w 288"/>
                <a:gd name="T9" fmla="*/ 72 h 318"/>
                <a:gd name="T10" fmla="*/ 60 w 288"/>
                <a:gd name="T11" fmla="*/ 66 h 318"/>
                <a:gd name="T12" fmla="*/ 132 w 288"/>
                <a:gd name="T13" fmla="*/ 12 h 318"/>
                <a:gd name="T14" fmla="*/ 138 w 288"/>
                <a:gd name="T15" fmla="*/ 0 h 318"/>
                <a:gd name="T16" fmla="*/ 144 w 288"/>
                <a:gd name="T17" fmla="*/ 6 h 318"/>
                <a:gd name="T18" fmla="*/ 162 w 288"/>
                <a:gd name="T19" fmla="*/ 6 h 318"/>
                <a:gd name="T20" fmla="*/ 192 w 288"/>
                <a:gd name="T21" fmla="*/ 6 h 318"/>
                <a:gd name="T22" fmla="*/ 222 w 288"/>
                <a:gd name="T23" fmla="*/ 6 h 318"/>
                <a:gd name="T24" fmla="*/ 222 w 288"/>
                <a:gd name="T25" fmla="*/ 24 h 318"/>
                <a:gd name="T26" fmla="*/ 222 w 288"/>
                <a:gd name="T27" fmla="*/ 42 h 318"/>
                <a:gd name="T28" fmla="*/ 240 w 288"/>
                <a:gd name="T29" fmla="*/ 54 h 318"/>
                <a:gd name="T30" fmla="*/ 252 w 288"/>
                <a:gd name="T31" fmla="*/ 48 h 318"/>
                <a:gd name="T32" fmla="*/ 276 w 288"/>
                <a:gd name="T33" fmla="*/ 54 h 318"/>
                <a:gd name="T34" fmla="*/ 282 w 288"/>
                <a:gd name="T35" fmla="*/ 72 h 318"/>
                <a:gd name="T36" fmla="*/ 270 w 288"/>
                <a:gd name="T37" fmla="*/ 90 h 318"/>
                <a:gd name="T38" fmla="*/ 258 w 288"/>
                <a:gd name="T39" fmla="*/ 108 h 318"/>
                <a:gd name="T40" fmla="*/ 258 w 288"/>
                <a:gd name="T41" fmla="*/ 126 h 318"/>
                <a:gd name="T42" fmla="*/ 282 w 288"/>
                <a:gd name="T43" fmla="*/ 138 h 318"/>
                <a:gd name="T44" fmla="*/ 282 w 288"/>
                <a:gd name="T45" fmla="*/ 168 h 318"/>
                <a:gd name="T46" fmla="*/ 288 w 288"/>
                <a:gd name="T47" fmla="*/ 192 h 318"/>
                <a:gd name="T48" fmla="*/ 276 w 288"/>
                <a:gd name="T49" fmla="*/ 216 h 318"/>
                <a:gd name="T50" fmla="*/ 264 w 288"/>
                <a:gd name="T51" fmla="*/ 240 h 318"/>
                <a:gd name="T52" fmla="*/ 252 w 288"/>
                <a:gd name="T53" fmla="*/ 228 h 318"/>
                <a:gd name="T54" fmla="*/ 234 w 288"/>
                <a:gd name="T55" fmla="*/ 240 h 318"/>
                <a:gd name="T56" fmla="*/ 210 w 288"/>
                <a:gd name="T57" fmla="*/ 234 h 318"/>
                <a:gd name="T58" fmla="*/ 204 w 288"/>
                <a:gd name="T59" fmla="*/ 216 h 318"/>
                <a:gd name="T60" fmla="*/ 186 w 288"/>
                <a:gd name="T61" fmla="*/ 222 h 318"/>
                <a:gd name="T62" fmla="*/ 162 w 288"/>
                <a:gd name="T63" fmla="*/ 234 h 318"/>
                <a:gd name="T64" fmla="*/ 144 w 288"/>
                <a:gd name="T65" fmla="*/ 240 h 318"/>
                <a:gd name="T66" fmla="*/ 150 w 288"/>
                <a:gd name="T67" fmla="*/ 258 h 318"/>
                <a:gd name="T68" fmla="*/ 162 w 288"/>
                <a:gd name="T69" fmla="*/ 276 h 318"/>
                <a:gd name="T70" fmla="*/ 156 w 288"/>
                <a:gd name="T71" fmla="*/ 294 h 318"/>
                <a:gd name="T72" fmla="*/ 144 w 288"/>
                <a:gd name="T73" fmla="*/ 300 h 318"/>
                <a:gd name="T74" fmla="*/ 126 w 288"/>
                <a:gd name="T75" fmla="*/ 306 h 318"/>
                <a:gd name="T76" fmla="*/ 114 w 288"/>
                <a:gd name="T77" fmla="*/ 312 h 318"/>
                <a:gd name="T78" fmla="*/ 108 w 288"/>
                <a:gd name="T79" fmla="*/ 294 h 318"/>
                <a:gd name="T80" fmla="*/ 90 w 288"/>
                <a:gd name="T81" fmla="*/ 276 h 318"/>
                <a:gd name="T82" fmla="*/ 72 w 288"/>
                <a:gd name="T83" fmla="*/ 258 h 318"/>
                <a:gd name="T84" fmla="*/ 60 w 288"/>
                <a:gd name="T85" fmla="*/ 252 h 318"/>
                <a:gd name="T86" fmla="*/ 42 w 288"/>
                <a:gd name="T87" fmla="*/ 240 h 318"/>
                <a:gd name="T88" fmla="*/ 30 w 288"/>
                <a:gd name="T89" fmla="*/ 216 h 318"/>
                <a:gd name="T90" fmla="*/ 24 w 288"/>
                <a:gd name="T91" fmla="*/ 192 h 318"/>
                <a:gd name="T92" fmla="*/ 12 w 288"/>
                <a:gd name="T93" fmla="*/ 174 h 318"/>
                <a:gd name="T94" fmla="*/ 6 w 288"/>
                <a:gd name="T95" fmla="*/ 168 h 318"/>
                <a:gd name="T96" fmla="*/ 0 w 288"/>
                <a:gd name="T97" fmla="*/ 156 h 318"/>
                <a:gd name="T98" fmla="*/ 18 w 288"/>
                <a:gd name="T99" fmla="*/ 156 h 318"/>
                <a:gd name="T100" fmla="*/ 24 w 288"/>
                <a:gd name="T101" fmla="*/ 144 h 318"/>
                <a:gd name="T102" fmla="*/ 30 w 288"/>
                <a:gd name="T103" fmla="*/ 120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8"/>
                <a:gd name="T157" fmla="*/ 0 h 318"/>
                <a:gd name="T158" fmla="*/ 288 w 288"/>
                <a:gd name="T159" fmla="*/ 318 h 3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7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2529" y="2208"/>
              <a:ext cx="316" cy="367"/>
            </a:xfrm>
            <a:custGeom>
              <a:avLst/>
              <a:gdLst>
                <a:gd name="T0" fmla="*/ 12 w 372"/>
                <a:gd name="T1" fmla="*/ 360 h 432"/>
                <a:gd name="T2" fmla="*/ 36 w 372"/>
                <a:gd name="T3" fmla="*/ 366 h 432"/>
                <a:gd name="T4" fmla="*/ 36 w 372"/>
                <a:gd name="T5" fmla="*/ 342 h 432"/>
                <a:gd name="T6" fmla="*/ 30 w 372"/>
                <a:gd name="T7" fmla="*/ 324 h 432"/>
                <a:gd name="T8" fmla="*/ 24 w 372"/>
                <a:gd name="T9" fmla="*/ 300 h 432"/>
                <a:gd name="T10" fmla="*/ 66 w 372"/>
                <a:gd name="T11" fmla="*/ 306 h 432"/>
                <a:gd name="T12" fmla="*/ 72 w 372"/>
                <a:gd name="T13" fmla="*/ 276 h 432"/>
                <a:gd name="T14" fmla="*/ 96 w 372"/>
                <a:gd name="T15" fmla="*/ 294 h 432"/>
                <a:gd name="T16" fmla="*/ 114 w 372"/>
                <a:gd name="T17" fmla="*/ 306 h 432"/>
                <a:gd name="T18" fmla="*/ 138 w 372"/>
                <a:gd name="T19" fmla="*/ 294 h 432"/>
                <a:gd name="T20" fmla="*/ 150 w 372"/>
                <a:gd name="T21" fmla="*/ 294 h 432"/>
                <a:gd name="T22" fmla="*/ 162 w 372"/>
                <a:gd name="T23" fmla="*/ 264 h 432"/>
                <a:gd name="T24" fmla="*/ 168 w 372"/>
                <a:gd name="T25" fmla="*/ 246 h 432"/>
                <a:gd name="T26" fmla="*/ 162 w 372"/>
                <a:gd name="T27" fmla="*/ 204 h 432"/>
                <a:gd name="T28" fmla="*/ 138 w 372"/>
                <a:gd name="T29" fmla="*/ 198 h 432"/>
                <a:gd name="T30" fmla="*/ 138 w 372"/>
                <a:gd name="T31" fmla="*/ 162 h 432"/>
                <a:gd name="T32" fmla="*/ 162 w 372"/>
                <a:gd name="T33" fmla="*/ 144 h 432"/>
                <a:gd name="T34" fmla="*/ 156 w 372"/>
                <a:gd name="T35" fmla="*/ 126 h 432"/>
                <a:gd name="T36" fmla="*/ 132 w 372"/>
                <a:gd name="T37" fmla="*/ 114 h 432"/>
                <a:gd name="T38" fmla="*/ 114 w 372"/>
                <a:gd name="T39" fmla="*/ 120 h 432"/>
                <a:gd name="T40" fmla="*/ 96 w 372"/>
                <a:gd name="T41" fmla="*/ 102 h 432"/>
                <a:gd name="T42" fmla="*/ 108 w 372"/>
                <a:gd name="T43" fmla="*/ 78 h 432"/>
                <a:gd name="T44" fmla="*/ 174 w 372"/>
                <a:gd name="T45" fmla="*/ 72 h 432"/>
                <a:gd name="T46" fmla="*/ 186 w 372"/>
                <a:gd name="T47" fmla="*/ 84 h 432"/>
                <a:gd name="T48" fmla="*/ 210 w 372"/>
                <a:gd name="T49" fmla="*/ 90 h 432"/>
                <a:gd name="T50" fmla="*/ 234 w 372"/>
                <a:gd name="T51" fmla="*/ 90 h 432"/>
                <a:gd name="T52" fmla="*/ 246 w 372"/>
                <a:gd name="T53" fmla="*/ 90 h 432"/>
                <a:gd name="T54" fmla="*/ 252 w 372"/>
                <a:gd name="T55" fmla="*/ 72 h 432"/>
                <a:gd name="T56" fmla="*/ 270 w 372"/>
                <a:gd name="T57" fmla="*/ 24 h 432"/>
                <a:gd name="T58" fmla="*/ 294 w 372"/>
                <a:gd name="T59" fmla="*/ 6 h 432"/>
                <a:gd name="T60" fmla="*/ 330 w 372"/>
                <a:gd name="T61" fmla="*/ 0 h 432"/>
                <a:gd name="T62" fmla="*/ 354 w 372"/>
                <a:gd name="T63" fmla="*/ 12 h 432"/>
                <a:gd name="T64" fmla="*/ 372 w 372"/>
                <a:gd name="T65" fmla="*/ 18 h 432"/>
                <a:gd name="T66" fmla="*/ 360 w 372"/>
                <a:gd name="T67" fmla="*/ 42 h 432"/>
                <a:gd name="T68" fmla="*/ 342 w 372"/>
                <a:gd name="T69" fmla="*/ 72 h 432"/>
                <a:gd name="T70" fmla="*/ 342 w 372"/>
                <a:gd name="T71" fmla="*/ 108 h 432"/>
                <a:gd name="T72" fmla="*/ 330 w 372"/>
                <a:gd name="T73" fmla="*/ 132 h 432"/>
                <a:gd name="T74" fmla="*/ 336 w 372"/>
                <a:gd name="T75" fmla="*/ 168 h 432"/>
                <a:gd name="T76" fmla="*/ 324 w 372"/>
                <a:gd name="T77" fmla="*/ 192 h 432"/>
                <a:gd name="T78" fmla="*/ 318 w 372"/>
                <a:gd name="T79" fmla="*/ 222 h 432"/>
                <a:gd name="T80" fmla="*/ 288 w 372"/>
                <a:gd name="T81" fmla="*/ 240 h 432"/>
                <a:gd name="T82" fmla="*/ 270 w 372"/>
                <a:gd name="T83" fmla="*/ 276 h 432"/>
                <a:gd name="T84" fmla="*/ 252 w 372"/>
                <a:gd name="T85" fmla="*/ 300 h 432"/>
                <a:gd name="T86" fmla="*/ 252 w 372"/>
                <a:gd name="T87" fmla="*/ 336 h 432"/>
                <a:gd name="T88" fmla="*/ 240 w 372"/>
                <a:gd name="T89" fmla="*/ 372 h 432"/>
                <a:gd name="T90" fmla="*/ 216 w 372"/>
                <a:gd name="T91" fmla="*/ 390 h 432"/>
                <a:gd name="T92" fmla="*/ 192 w 372"/>
                <a:gd name="T93" fmla="*/ 408 h 432"/>
                <a:gd name="T94" fmla="*/ 174 w 372"/>
                <a:gd name="T95" fmla="*/ 426 h 432"/>
                <a:gd name="T96" fmla="*/ 156 w 372"/>
                <a:gd name="T97" fmla="*/ 408 h 432"/>
                <a:gd name="T98" fmla="*/ 156 w 372"/>
                <a:gd name="T99" fmla="*/ 396 h 432"/>
                <a:gd name="T100" fmla="*/ 132 w 372"/>
                <a:gd name="T101" fmla="*/ 408 h 432"/>
                <a:gd name="T102" fmla="*/ 120 w 372"/>
                <a:gd name="T103" fmla="*/ 420 h 432"/>
                <a:gd name="T104" fmla="*/ 96 w 372"/>
                <a:gd name="T105" fmla="*/ 414 h 432"/>
                <a:gd name="T106" fmla="*/ 78 w 372"/>
                <a:gd name="T107" fmla="*/ 408 h 432"/>
                <a:gd name="T108" fmla="*/ 48 w 372"/>
                <a:gd name="T109" fmla="*/ 426 h 432"/>
                <a:gd name="T110" fmla="*/ 30 w 372"/>
                <a:gd name="T111" fmla="*/ 414 h 432"/>
                <a:gd name="T112" fmla="*/ 12 w 372"/>
                <a:gd name="T113" fmla="*/ 396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72"/>
                <a:gd name="T172" fmla="*/ 0 h 432"/>
                <a:gd name="T173" fmla="*/ 372 w 372"/>
                <a:gd name="T174" fmla="*/ 432 h 4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8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2453" y="2264"/>
              <a:ext cx="81" cy="61"/>
            </a:xfrm>
            <a:custGeom>
              <a:avLst/>
              <a:gdLst>
                <a:gd name="T0" fmla="*/ 24 w 96"/>
                <a:gd name="T1" fmla="*/ 0 h 72"/>
                <a:gd name="T2" fmla="*/ 24 w 96"/>
                <a:gd name="T3" fmla="*/ 6 h 72"/>
                <a:gd name="T4" fmla="*/ 30 w 96"/>
                <a:gd name="T5" fmla="*/ 6 h 72"/>
                <a:gd name="T6" fmla="*/ 30 w 96"/>
                <a:gd name="T7" fmla="*/ 12 h 72"/>
                <a:gd name="T8" fmla="*/ 36 w 96"/>
                <a:gd name="T9" fmla="*/ 12 h 72"/>
                <a:gd name="T10" fmla="*/ 36 w 96"/>
                <a:gd name="T11" fmla="*/ 6 h 72"/>
                <a:gd name="T12" fmla="*/ 36 w 96"/>
                <a:gd name="T13" fmla="*/ 12 h 72"/>
                <a:gd name="T14" fmla="*/ 42 w 96"/>
                <a:gd name="T15" fmla="*/ 12 h 72"/>
                <a:gd name="T16" fmla="*/ 90 w 96"/>
                <a:gd name="T17" fmla="*/ 12 h 72"/>
                <a:gd name="T18" fmla="*/ 90 w 96"/>
                <a:gd name="T19" fmla="*/ 6 h 72"/>
                <a:gd name="T20" fmla="*/ 96 w 96"/>
                <a:gd name="T21" fmla="*/ 12 h 72"/>
                <a:gd name="T22" fmla="*/ 96 w 96"/>
                <a:gd name="T23" fmla="*/ 66 h 72"/>
                <a:gd name="T24" fmla="*/ 90 w 96"/>
                <a:gd name="T25" fmla="*/ 66 h 72"/>
                <a:gd name="T26" fmla="*/ 84 w 96"/>
                <a:gd name="T27" fmla="*/ 66 h 72"/>
                <a:gd name="T28" fmla="*/ 30 w 96"/>
                <a:gd name="T29" fmla="*/ 66 h 72"/>
                <a:gd name="T30" fmla="*/ 30 w 96"/>
                <a:gd name="T31" fmla="*/ 72 h 72"/>
                <a:gd name="T32" fmla="*/ 24 w 96"/>
                <a:gd name="T33" fmla="*/ 66 h 72"/>
                <a:gd name="T34" fmla="*/ 18 w 96"/>
                <a:gd name="T35" fmla="*/ 66 h 72"/>
                <a:gd name="T36" fmla="*/ 12 w 96"/>
                <a:gd name="T37" fmla="*/ 66 h 72"/>
                <a:gd name="T38" fmla="*/ 12 w 96"/>
                <a:gd name="T39" fmla="*/ 60 h 72"/>
                <a:gd name="T40" fmla="*/ 6 w 96"/>
                <a:gd name="T41" fmla="*/ 60 h 72"/>
                <a:gd name="T42" fmla="*/ 0 w 96"/>
                <a:gd name="T43" fmla="*/ 60 h 72"/>
                <a:gd name="T44" fmla="*/ 0 w 96"/>
                <a:gd name="T45" fmla="*/ 54 h 72"/>
                <a:gd name="T46" fmla="*/ 6 w 96"/>
                <a:gd name="T47" fmla="*/ 54 h 72"/>
                <a:gd name="T48" fmla="*/ 6 w 96"/>
                <a:gd name="T49" fmla="*/ 48 h 72"/>
                <a:gd name="T50" fmla="*/ 12 w 96"/>
                <a:gd name="T51" fmla="*/ 42 h 72"/>
                <a:gd name="T52" fmla="*/ 12 w 96"/>
                <a:gd name="T53" fmla="*/ 48 h 72"/>
                <a:gd name="T54" fmla="*/ 12 w 96"/>
                <a:gd name="T55" fmla="*/ 42 h 72"/>
                <a:gd name="T56" fmla="*/ 12 w 96"/>
                <a:gd name="T57" fmla="*/ 36 h 72"/>
                <a:gd name="T58" fmla="*/ 18 w 96"/>
                <a:gd name="T59" fmla="*/ 30 h 72"/>
                <a:gd name="T60" fmla="*/ 18 w 96"/>
                <a:gd name="T61" fmla="*/ 24 h 72"/>
                <a:gd name="T62" fmla="*/ 24 w 96"/>
                <a:gd name="T63" fmla="*/ 24 h 72"/>
                <a:gd name="T64" fmla="*/ 18 w 96"/>
                <a:gd name="T65" fmla="*/ 12 h 72"/>
                <a:gd name="T66" fmla="*/ 24 w 96"/>
                <a:gd name="T67" fmla="*/ 12 h 72"/>
                <a:gd name="T68" fmla="*/ 24 w 96"/>
                <a:gd name="T69" fmla="*/ 6 h 72"/>
                <a:gd name="T70" fmla="*/ 24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6"/>
                <a:gd name="T109" fmla="*/ 0 h 72"/>
                <a:gd name="T110" fmla="*/ 96 w 96"/>
                <a:gd name="T111" fmla="*/ 72 h 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9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346" y="1779"/>
              <a:ext cx="128" cy="31"/>
            </a:xfrm>
            <a:custGeom>
              <a:avLst/>
              <a:gdLst>
                <a:gd name="T0" fmla="*/ 54 w 150"/>
                <a:gd name="T1" fmla="*/ 12 h 36"/>
                <a:gd name="T2" fmla="*/ 72 w 150"/>
                <a:gd name="T3" fmla="*/ 6 h 36"/>
                <a:gd name="T4" fmla="*/ 78 w 150"/>
                <a:gd name="T5" fmla="*/ 0 h 36"/>
                <a:gd name="T6" fmla="*/ 84 w 150"/>
                <a:gd name="T7" fmla="*/ 6 h 36"/>
                <a:gd name="T8" fmla="*/ 90 w 150"/>
                <a:gd name="T9" fmla="*/ 0 h 36"/>
                <a:gd name="T10" fmla="*/ 102 w 150"/>
                <a:gd name="T11" fmla="*/ 6 h 36"/>
                <a:gd name="T12" fmla="*/ 108 w 150"/>
                <a:gd name="T13" fmla="*/ 12 h 36"/>
                <a:gd name="T14" fmla="*/ 120 w 150"/>
                <a:gd name="T15" fmla="*/ 12 h 36"/>
                <a:gd name="T16" fmla="*/ 126 w 150"/>
                <a:gd name="T17" fmla="*/ 18 h 36"/>
                <a:gd name="T18" fmla="*/ 138 w 150"/>
                <a:gd name="T19" fmla="*/ 12 h 36"/>
                <a:gd name="T20" fmla="*/ 150 w 150"/>
                <a:gd name="T21" fmla="*/ 18 h 36"/>
                <a:gd name="T22" fmla="*/ 144 w 150"/>
                <a:gd name="T23" fmla="*/ 24 h 36"/>
                <a:gd name="T24" fmla="*/ 138 w 150"/>
                <a:gd name="T25" fmla="*/ 30 h 36"/>
                <a:gd name="T26" fmla="*/ 126 w 150"/>
                <a:gd name="T27" fmla="*/ 30 h 36"/>
                <a:gd name="T28" fmla="*/ 120 w 150"/>
                <a:gd name="T29" fmla="*/ 24 h 36"/>
                <a:gd name="T30" fmla="*/ 108 w 150"/>
                <a:gd name="T31" fmla="*/ 24 h 36"/>
                <a:gd name="T32" fmla="*/ 102 w 150"/>
                <a:gd name="T33" fmla="*/ 18 h 36"/>
                <a:gd name="T34" fmla="*/ 90 w 150"/>
                <a:gd name="T35" fmla="*/ 18 h 36"/>
                <a:gd name="T36" fmla="*/ 84 w 150"/>
                <a:gd name="T37" fmla="*/ 12 h 36"/>
                <a:gd name="T38" fmla="*/ 84 w 150"/>
                <a:gd name="T39" fmla="*/ 24 h 36"/>
                <a:gd name="T40" fmla="*/ 72 w 150"/>
                <a:gd name="T41" fmla="*/ 24 h 36"/>
                <a:gd name="T42" fmla="*/ 60 w 150"/>
                <a:gd name="T43" fmla="*/ 24 h 36"/>
                <a:gd name="T44" fmla="*/ 54 w 150"/>
                <a:gd name="T45" fmla="*/ 36 h 36"/>
                <a:gd name="T46" fmla="*/ 24 w 150"/>
                <a:gd name="T47" fmla="*/ 36 h 36"/>
                <a:gd name="T48" fmla="*/ 6 w 150"/>
                <a:gd name="T49" fmla="*/ 30 h 36"/>
                <a:gd name="T50" fmla="*/ 0 w 150"/>
                <a:gd name="T51" fmla="*/ 24 h 36"/>
                <a:gd name="T52" fmla="*/ 6 w 150"/>
                <a:gd name="T53" fmla="*/ 18 h 36"/>
                <a:gd name="T54" fmla="*/ 12 w 150"/>
                <a:gd name="T55" fmla="*/ 24 h 36"/>
                <a:gd name="T56" fmla="*/ 24 w 150"/>
                <a:gd name="T57" fmla="*/ 30 h 36"/>
                <a:gd name="T58" fmla="*/ 36 w 150"/>
                <a:gd name="T59" fmla="*/ 24 h 36"/>
                <a:gd name="T60" fmla="*/ 36 w 150"/>
                <a:gd name="T61" fmla="*/ 24 h 36"/>
                <a:gd name="T62" fmla="*/ 42 w 150"/>
                <a:gd name="T63" fmla="*/ 18 h 36"/>
                <a:gd name="T64" fmla="*/ 42 w 150"/>
                <a:gd name="T65" fmla="*/ 18 h 36"/>
                <a:gd name="T66" fmla="*/ 54 w 150"/>
                <a:gd name="T67" fmla="*/ 18 h 36"/>
                <a:gd name="T68" fmla="*/ 66 w 150"/>
                <a:gd name="T69" fmla="*/ 18 h 36"/>
                <a:gd name="T70" fmla="*/ 54 w 150"/>
                <a:gd name="T71" fmla="*/ 18 h 36"/>
                <a:gd name="T72" fmla="*/ 42 w 150"/>
                <a:gd name="T73" fmla="*/ 18 h 36"/>
                <a:gd name="T74" fmla="*/ 30 w 150"/>
                <a:gd name="T75" fmla="*/ 24 h 36"/>
                <a:gd name="T76" fmla="*/ 18 w 150"/>
                <a:gd name="T77" fmla="*/ 24 h 36"/>
                <a:gd name="T78" fmla="*/ 18 w 150"/>
                <a:gd name="T79" fmla="*/ 12 h 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0"/>
                <a:gd name="T121" fmla="*/ 0 h 36"/>
                <a:gd name="T122" fmla="*/ 150 w 150"/>
                <a:gd name="T123" fmla="*/ 36 h 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0" h="36">
                  <a:moveTo>
                    <a:pt x="18" y="12"/>
                  </a:moveTo>
                  <a:lnTo>
                    <a:pt x="54" y="12"/>
                  </a:lnTo>
                  <a:lnTo>
                    <a:pt x="66" y="12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6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30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351" y="1830"/>
              <a:ext cx="133" cy="72"/>
            </a:xfrm>
            <a:custGeom>
              <a:avLst/>
              <a:gdLst>
                <a:gd name="T0" fmla="*/ 12 w 156"/>
                <a:gd name="T1" fmla="*/ 12 h 84"/>
                <a:gd name="T2" fmla="*/ 30 w 156"/>
                <a:gd name="T3" fmla="*/ 6 h 84"/>
                <a:gd name="T4" fmla="*/ 54 w 156"/>
                <a:gd name="T5" fmla="*/ 12 h 84"/>
                <a:gd name="T6" fmla="*/ 72 w 156"/>
                <a:gd name="T7" fmla="*/ 0 h 84"/>
                <a:gd name="T8" fmla="*/ 96 w 156"/>
                <a:gd name="T9" fmla="*/ 0 h 84"/>
                <a:gd name="T10" fmla="*/ 156 w 156"/>
                <a:gd name="T11" fmla="*/ 6 h 84"/>
                <a:gd name="T12" fmla="*/ 150 w 156"/>
                <a:gd name="T13" fmla="*/ 18 h 84"/>
                <a:gd name="T14" fmla="*/ 138 w 156"/>
                <a:gd name="T15" fmla="*/ 24 h 84"/>
                <a:gd name="T16" fmla="*/ 150 w 156"/>
                <a:gd name="T17" fmla="*/ 30 h 84"/>
                <a:gd name="T18" fmla="*/ 150 w 156"/>
                <a:gd name="T19" fmla="*/ 48 h 84"/>
                <a:gd name="T20" fmla="*/ 144 w 156"/>
                <a:gd name="T21" fmla="*/ 48 h 84"/>
                <a:gd name="T22" fmla="*/ 126 w 156"/>
                <a:gd name="T23" fmla="*/ 48 h 84"/>
                <a:gd name="T24" fmla="*/ 102 w 156"/>
                <a:gd name="T25" fmla="*/ 54 h 84"/>
                <a:gd name="T26" fmla="*/ 96 w 156"/>
                <a:gd name="T27" fmla="*/ 66 h 84"/>
                <a:gd name="T28" fmla="*/ 84 w 156"/>
                <a:gd name="T29" fmla="*/ 84 h 84"/>
                <a:gd name="T30" fmla="*/ 84 w 156"/>
                <a:gd name="T31" fmla="*/ 72 h 84"/>
                <a:gd name="T32" fmla="*/ 78 w 156"/>
                <a:gd name="T33" fmla="*/ 72 h 84"/>
                <a:gd name="T34" fmla="*/ 72 w 156"/>
                <a:gd name="T35" fmla="*/ 72 h 84"/>
                <a:gd name="T36" fmla="*/ 66 w 156"/>
                <a:gd name="T37" fmla="*/ 72 h 84"/>
                <a:gd name="T38" fmla="*/ 72 w 156"/>
                <a:gd name="T39" fmla="*/ 60 h 84"/>
                <a:gd name="T40" fmla="*/ 60 w 156"/>
                <a:gd name="T41" fmla="*/ 66 h 84"/>
                <a:gd name="T42" fmla="*/ 60 w 156"/>
                <a:gd name="T43" fmla="*/ 60 h 84"/>
                <a:gd name="T44" fmla="*/ 66 w 156"/>
                <a:gd name="T45" fmla="*/ 54 h 84"/>
                <a:gd name="T46" fmla="*/ 72 w 156"/>
                <a:gd name="T47" fmla="*/ 54 h 84"/>
                <a:gd name="T48" fmla="*/ 78 w 156"/>
                <a:gd name="T49" fmla="*/ 54 h 84"/>
                <a:gd name="T50" fmla="*/ 78 w 156"/>
                <a:gd name="T51" fmla="*/ 48 h 84"/>
                <a:gd name="T52" fmla="*/ 78 w 156"/>
                <a:gd name="T53" fmla="*/ 54 h 84"/>
                <a:gd name="T54" fmla="*/ 84 w 156"/>
                <a:gd name="T55" fmla="*/ 54 h 84"/>
                <a:gd name="T56" fmla="*/ 84 w 156"/>
                <a:gd name="T57" fmla="*/ 48 h 84"/>
                <a:gd name="T58" fmla="*/ 78 w 156"/>
                <a:gd name="T59" fmla="*/ 48 h 84"/>
                <a:gd name="T60" fmla="*/ 72 w 156"/>
                <a:gd name="T61" fmla="*/ 48 h 84"/>
                <a:gd name="T62" fmla="*/ 78 w 156"/>
                <a:gd name="T63" fmla="*/ 48 h 84"/>
                <a:gd name="T64" fmla="*/ 78 w 156"/>
                <a:gd name="T65" fmla="*/ 42 h 84"/>
                <a:gd name="T66" fmla="*/ 72 w 156"/>
                <a:gd name="T67" fmla="*/ 48 h 84"/>
                <a:gd name="T68" fmla="*/ 66 w 156"/>
                <a:gd name="T69" fmla="*/ 48 h 84"/>
                <a:gd name="T70" fmla="*/ 66 w 156"/>
                <a:gd name="T71" fmla="*/ 48 h 84"/>
                <a:gd name="T72" fmla="*/ 60 w 156"/>
                <a:gd name="T73" fmla="*/ 48 h 84"/>
                <a:gd name="T74" fmla="*/ 66 w 156"/>
                <a:gd name="T75" fmla="*/ 36 h 84"/>
                <a:gd name="T76" fmla="*/ 84 w 156"/>
                <a:gd name="T77" fmla="*/ 36 h 84"/>
                <a:gd name="T78" fmla="*/ 78 w 156"/>
                <a:gd name="T79" fmla="*/ 36 h 84"/>
                <a:gd name="T80" fmla="*/ 66 w 156"/>
                <a:gd name="T81" fmla="*/ 36 h 84"/>
                <a:gd name="T82" fmla="*/ 48 w 156"/>
                <a:gd name="T83" fmla="*/ 42 h 84"/>
                <a:gd name="T84" fmla="*/ 42 w 156"/>
                <a:gd name="T85" fmla="*/ 42 h 84"/>
                <a:gd name="T86" fmla="*/ 30 w 156"/>
                <a:gd name="T87" fmla="*/ 36 h 84"/>
                <a:gd name="T88" fmla="*/ 18 w 156"/>
                <a:gd name="T89" fmla="*/ 30 h 84"/>
                <a:gd name="T90" fmla="*/ 24 w 156"/>
                <a:gd name="T91" fmla="*/ 18 h 84"/>
                <a:gd name="T92" fmla="*/ 18 w 156"/>
                <a:gd name="T93" fmla="*/ 24 h 84"/>
                <a:gd name="T94" fmla="*/ 6 w 156"/>
                <a:gd name="T95" fmla="*/ 18 h 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"/>
                <a:gd name="T145" fmla="*/ 0 h 84"/>
                <a:gd name="T146" fmla="*/ 156 w 156"/>
                <a:gd name="T147" fmla="*/ 84 h 8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" h="84">
                  <a:moveTo>
                    <a:pt x="0" y="12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6" y="54"/>
                  </a:lnTo>
                  <a:lnTo>
                    <a:pt x="66" y="60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3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2575" y="2136"/>
              <a:ext cx="806" cy="796"/>
            </a:xfrm>
            <a:custGeom>
              <a:avLst/>
              <a:gdLst>
                <a:gd name="T0" fmla="*/ 36 w 948"/>
                <a:gd name="T1" fmla="*/ 504 h 936"/>
                <a:gd name="T2" fmla="*/ 78 w 948"/>
                <a:gd name="T3" fmla="*/ 486 h 936"/>
                <a:gd name="T4" fmla="*/ 102 w 948"/>
                <a:gd name="T5" fmla="*/ 492 h 936"/>
                <a:gd name="T6" fmla="*/ 144 w 948"/>
                <a:gd name="T7" fmla="*/ 492 h 936"/>
                <a:gd name="T8" fmla="*/ 192 w 948"/>
                <a:gd name="T9" fmla="*/ 438 h 936"/>
                <a:gd name="T10" fmla="*/ 204 w 948"/>
                <a:gd name="T11" fmla="*/ 372 h 936"/>
                <a:gd name="T12" fmla="*/ 252 w 948"/>
                <a:gd name="T13" fmla="*/ 318 h 936"/>
                <a:gd name="T14" fmla="*/ 276 w 948"/>
                <a:gd name="T15" fmla="*/ 252 h 936"/>
                <a:gd name="T16" fmla="*/ 288 w 948"/>
                <a:gd name="T17" fmla="*/ 192 h 936"/>
                <a:gd name="T18" fmla="*/ 306 w 948"/>
                <a:gd name="T19" fmla="*/ 120 h 936"/>
                <a:gd name="T20" fmla="*/ 318 w 948"/>
                <a:gd name="T21" fmla="*/ 60 h 936"/>
                <a:gd name="T22" fmla="*/ 354 w 948"/>
                <a:gd name="T23" fmla="*/ 18 h 936"/>
                <a:gd name="T24" fmla="*/ 408 w 948"/>
                <a:gd name="T25" fmla="*/ 36 h 936"/>
                <a:gd name="T26" fmla="*/ 474 w 948"/>
                <a:gd name="T27" fmla="*/ 54 h 936"/>
                <a:gd name="T28" fmla="*/ 516 w 948"/>
                <a:gd name="T29" fmla="*/ 42 h 936"/>
                <a:gd name="T30" fmla="*/ 546 w 948"/>
                <a:gd name="T31" fmla="*/ 36 h 936"/>
                <a:gd name="T32" fmla="*/ 594 w 948"/>
                <a:gd name="T33" fmla="*/ 18 h 936"/>
                <a:gd name="T34" fmla="*/ 618 w 948"/>
                <a:gd name="T35" fmla="*/ 24 h 936"/>
                <a:gd name="T36" fmla="*/ 654 w 948"/>
                <a:gd name="T37" fmla="*/ 6 h 936"/>
                <a:gd name="T38" fmla="*/ 678 w 948"/>
                <a:gd name="T39" fmla="*/ 12 h 936"/>
                <a:gd name="T40" fmla="*/ 708 w 948"/>
                <a:gd name="T41" fmla="*/ 18 h 936"/>
                <a:gd name="T42" fmla="*/ 726 w 948"/>
                <a:gd name="T43" fmla="*/ 18 h 936"/>
                <a:gd name="T44" fmla="*/ 774 w 948"/>
                <a:gd name="T45" fmla="*/ 36 h 936"/>
                <a:gd name="T46" fmla="*/ 810 w 948"/>
                <a:gd name="T47" fmla="*/ 54 h 936"/>
                <a:gd name="T48" fmla="*/ 834 w 948"/>
                <a:gd name="T49" fmla="*/ 48 h 936"/>
                <a:gd name="T50" fmla="*/ 870 w 948"/>
                <a:gd name="T51" fmla="*/ 42 h 936"/>
                <a:gd name="T52" fmla="*/ 912 w 948"/>
                <a:gd name="T53" fmla="*/ 90 h 936"/>
                <a:gd name="T54" fmla="*/ 924 w 948"/>
                <a:gd name="T55" fmla="*/ 120 h 936"/>
                <a:gd name="T56" fmla="*/ 936 w 948"/>
                <a:gd name="T57" fmla="*/ 174 h 936"/>
                <a:gd name="T58" fmla="*/ 876 w 948"/>
                <a:gd name="T59" fmla="*/ 246 h 936"/>
                <a:gd name="T60" fmla="*/ 858 w 948"/>
                <a:gd name="T61" fmla="*/ 324 h 936"/>
                <a:gd name="T62" fmla="*/ 840 w 948"/>
                <a:gd name="T63" fmla="*/ 366 h 936"/>
                <a:gd name="T64" fmla="*/ 840 w 948"/>
                <a:gd name="T65" fmla="*/ 420 h 936"/>
                <a:gd name="T66" fmla="*/ 846 w 948"/>
                <a:gd name="T67" fmla="*/ 456 h 936"/>
                <a:gd name="T68" fmla="*/ 858 w 948"/>
                <a:gd name="T69" fmla="*/ 534 h 936"/>
                <a:gd name="T70" fmla="*/ 888 w 948"/>
                <a:gd name="T71" fmla="*/ 612 h 936"/>
                <a:gd name="T72" fmla="*/ 882 w 948"/>
                <a:gd name="T73" fmla="*/ 678 h 936"/>
                <a:gd name="T74" fmla="*/ 804 w 948"/>
                <a:gd name="T75" fmla="*/ 738 h 936"/>
                <a:gd name="T76" fmla="*/ 816 w 948"/>
                <a:gd name="T77" fmla="*/ 774 h 936"/>
                <a:gd name="T78" fmla="*/ 810 w 948"/>
                <a:gd name="T79" fmla="*/ 822 h 936"/>
                <a:gd name="T80" fmla="*/ 822 w 948"/>
                <a:gd name="T81" fmla="*/ 870 h 936"/>
                <a:gd name="T82" fmla="*/ 870 w 948"/>
                <a:gd name="T83" fmla="*/ 870 h 936"/>
                <a:gd name="T84" fmla="*/ 834 w 948"/>
                <a:gd name="T85" fmla="*/ 930 h 936"/>
                <a:gd name="T86" fmla="*/ 804 w 948"/>
                <a:gd name="T87" fmla="*/ 888 h 936"/>
                <a:gd name="T88" fmla="*/ 750 w 948"/>
                <a:gd name="T89" fmla="*/ 858 h 936"/>
                <a:gd name="T90" fmla="*/ 708 w 948"/>
                <a:gd name="T91" fmla="*/ 864 h 936"/>
                <a:gd name="T92" fmla="*/ 660 w 948"/>
                <a:gd name="T93" fmla="*/ 846 h 936"/>
                <a:gd name="T94" fmla="*/ 612 w 948"/>
                <a:gd name="T95" fmla="*/ 834 h 936"/>
                <a:gd name="T96" fmla="*/ 582 w 948"/>
                <a:gd name="T97" fmla="*/ 810 h 936"/>
                <a:gd name="T98" fmla="*/ 528 w 948"/>
                <a:gd name="T99" fmla="*/ 816 h 936"/>
                <a:gd name="T100" fmla="*/ 498 w 948"/>
                <a:gd name="T101" fmla="*/ 804 h 936"/>
                <a:gd name="T102" fmla="*/ 480 w 948"/>
                <a:gd name="T103" fmla="*/ 750 h 936"/>
                <a:gd name="T104" fmla="*/ 480 w 948"/>
                <a:gd name="T105" fmla="*/ 690 h 936"/>
                <a:gd name="T106" fmla="*/ 480 w 948"/>
                <a:gd name="T107" fmla="*/ 636 h 936"/>
                <a:gd name="T108" fmla="*/ 360 w 948"/>
                <a:gd name="T109" fmla="*/ 624 h 936"/>
                <a:gd name="T110" fmla="*/ 306 w 948"/>
                <a:gd name="T111" fmla="*/ 666 h 936"/>
                <a:gd name="T112" fmla="*/ 258 w 948"/>
                <a:gd name="T113" fmla="*/ 654 h 936"/>
                <a:gd name="T114" fmla="*/ 228 w 948"/>
                <a:gd name="T115" fmla="*/ 606 h 936"/>
                <a:gd name="T116" fmla="*/ 180 w 948"/>
                <a:gd name="T117" fmla="*/ 558 h 936"/>
                <a:gd name="T118" fmla="*/ 78 w 948"/>
                <a:gd name="T119" fmla="*/ 558 h 936"/>
                <a:gd name="T120" fmla="*/ 12 w 948"/>
                <a:gd name="T121" fmla="*/ 570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8"/>
                <a:gd name="T184" fmla="*/ 0 h 936"/>
                <a:gd name="T185" fmla="*/ 948 w 948"/>
                <a:gd name="T186" fmla="*/ 936 h 9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3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2978" y="1387"/>
              <a:ext cx="709" cy="831"/>
            </a:xfrm>
            <a:custGeom>
              <a:avLst/>
              <a:gdLst>
                <a:gd name="T0" fmla="*/ 480 w 834"/>
                <a:gd name="T1" fmla="*/ 54 h 978"/>
                <a:gd name="T2" fmla="*/ 690 w 834"/>
                <a:gd name="T3" fmla="*/ 0 h 978"/>
                <a:gd name="T4" fmla="*/ 696 w 834"/>
                <a:gd name="T5" fmla="*/ 18 h 978"/>
                <a:gd name="T6" fmla="*/ 738 w 834"/>
                <a:gd name="T7" fmla="*/ 48 h 978"/>
                <a:gd name="T8" fmla="*/ 750 w 834"/>
                <a:gd name="T9" fmla="*/ 84 h 978"/>
                <a:gd name="T10" fmla="*/ 768 w 834"/>
                <a:gd name="T11" fmla="*/ 102 h 978"/>
                <a:gd name="T12" fmla="*/ 762 w 834"/>
                <a:gd name="T13" fmla="*/ 132 h 978"/>
                <a:gd name="T14" fmla="*/ 768 w 834"/>
                <a:gd name="T15" fmla="*/ 156 h 978"/>
                <a:gd name="T16" fmla="*/ 774 w 834"/>
                <a:gd name="T17" fmla="*/ 192 h 978"/>
                <a:gd name="T18" fmla="*/ 780 w 834"/>
                <a:gd name="T19" fmla="*/ 222 h 978"/>
                <a:gd name="T20" fmla="*/ 810 w 834"/>
                <a:gd name="T21" fmla="*/ 234 h 978"/>
                <a:gd name="T22" fmla="*/ 822 w 834"/>
                <a:gd name="T23" fmla="*/ 246 h 978"/>
                <a:gd name="T24" fmla="*/ 810 w 834"/>
                <a:gd name="T25" fmla="*/ 276 h 978"/>
                <a:gd name="T26" fmla="*/ 780 w 834"/>
                <a:gd name="T27" fmla="*/ 294 h 978"/>
                <a:gd name="T28" fmla="*/ 750 w 834"/>
                <a:gd name="T29" fmla="*/ 324 h 978"/>
                <a:gd name="T30" fmla="*/ 744 w 834"/>
                <a:gd name="T31" fmla="*/ 360 h 978"/>
                <a:gd name="T32" fmla="*/ 732 w 834"/>
                <a:gd name="T33" fmla="*/ 414 h 978"/>
                <a:gd name="T34" fmla="*/ 726 w 834"/>
                <a:gd name="T35" fmla="*/ 468 h 978"/>
                <a:gd name="T36" fmla="*/ 714 w 834"/>
                <a:gd name="T37" fmla="*/ 516 h 978"/>
                <a:gd name="T38" fmla="*/ 672 w 834"/>
                <a:gd name="T39" fmla="*/ 552 h 978"/>
                <a:gd name="T40" fmla="*/ 654 w 834"/>
                <a:gd name="T41" fmla="*/ 606 h 978"/>
                <a:gd name="T42" fmla="*/ 624 w 834"/>
                <a:gd name="T43" fmla="*/ 618 h 978"/>
                <a:gd name="T44" fmla="*/ 618 w 834"/>
                <a:gd name="T45" fmla="*/ 660 h 978"/>
                <a:gd name="T46" fmla="*/ 600 w 834"/>
                <a:gd name="T47" fmla="*/ 726 h 978"/>
                <a:gd name="T48" fmla="*/ 564 w 834"/>
                <a:gd name="T49" fmla="*/ 732 h 978"/>
                <a:gd name="T50" fmla="*/ 558 w 834"/>
                <a:gd name="T51" fmla="*/ 762 h 978"/>
                <a:gd name="T52" fmla="*/ 594 w 834"/>
                <a:gd name="T53" fmla="*/ 768 h 978"/>
                <a:gd name="T54" fmla="*/ 618 w 834"/>
                <a:gd name="T55" fmla="*/ 798 h 978"/>
                <a:gd name="T56" fmla="*/ 642 w 834"/>
                <a:gd name="T57" fmla="*/ 816 h 978"/>
                <a:gd name="T58" fmla="*/ 654 w 834"/>
                <a:gd name="T59" fmla="*/ 852 h 978"/>
                <a:gd name="T60" fmla="*/ 696 w 834"/>
                <a:gd name="T61" fmla="*/ 888 h 978"/>
                <a:gd name="T62" fmla="*/ 678 w 834"/>
                <a:gd name="T63" fmla="*/ 918 h 978"/>
                <a:gd name="T64" fmla="*/ 636 w 834"/>
                <a:gd name="T65" fmla="*/ 912 h 978"/>
                <a:gd name="T66" fmla="*/ 552 w 834"/>
                <a:gd name="T67" fmla="*/ 960 h 978"/>
                <a:gd name="T68" fmla="*/ 492 w 834"/>
                <a:gd name="T69" fmla="*/ 966 h 978"/>
                <a:gd name="T70" fmla="*/ 450 w 834"/>
                <a:gd name="T71" fmla="*/ 972 h 978"/>
                <a:gd name="T72" fmla="*/ 432 w 834"/>
                <a:gd name="T73" fmla="*/ 954 h 978"/>
                <a:gd name="T74" fmla="*/ 402 w 834"/>
                <a:gd name="T75" fmla="*/ 924 h 978"/>
                <a:gd name="T76" fmla="*/ 366 w 834"/>
                <a:gd name="T77" fmla="*/ 936 h 978"/>
                <a:gd name="T78" fmla="*/ 348 w 834"/>
                <a:gd name="T79" fmla="*/ 930 h 978"/>
                <a:gd name="T80" fmla="*/ 312 w 834"/>
                <a:gd name="T81" fmla="*/ 930 h 978"/>
                <a:gd name="T82" fmla="*/ 294 w 834"/>
                <a:gd name="T83" fmla="*/ 912 h 978"/>
                <a:gd name="T84" fmla="*/ 270 w 834"/>
                <a:gd name="T85" fmla="*/ 870 h 978"/>
                <a:gd name="T86" fmla="*/ 234 w 834"/>
                <a:gd name="T87" fmla="*/ 846 h 978"/>
                <a:gd name="T88" fmla="*/ 216 w 834"/>
                <a:gd name="T89" fmla="*/ 810 h 978"/>
                <a:gd name="T90" fmla="*/ 186 w 834"/>
                <a:gd name="T91" fmla="*/ 792 h 978"/>
                <a:gd name="T92" fmla="*/ 168 w 834"/>
                <a:gd name="T93" fmla="*/ 756 h 978"/>
                <a:gd name="T94" fmla="*/ 132 w 834"/>
                <a:gd name="T95" fmla="*/ 738 h 978"/>
                <a:gd name="T96" fmla="*/ 114 w 834"/>
                <a:gd name="T97" fmla="*/ 720 h 978"/>
                <a:gd name="T98" fmla="*/ 84 w 834"/>
                <a:gd name="T99" fmla="*/ 702 h 978"/>
                <a:gd name="T100" fmla="*/ 96 w 834"/>
                <a:gd name="T101" fmla="*/ 660 h 978"/>
                <a:gd name="T102" fmla="*/ 60 w 834"/>
                <a:gd name="T103" fmla="*/ 600 h 978"/>
                <a:gd name="T104" fmla="*/ 36 w 834"/>
                <a:gd name="T105" fmla="*/ 546 h 978"/>
                <a:gd name="T106" fmla="*/ 12 w 834"/>
                <a:gd name="T107" fmla="*/ 522 h 978"/>
                <a:gd name="T108" fmla="*/ 18 w 834"/>
                <a:gd name="T109" fmla="*/ 492 h 978"/>
                <a:gd name="T110" fmla="*/ 30 w 834"/>
                <a:gd name="T111" fmla="*/ 450 h 978"/>
                <a:gd name="T112" fmla="*/ 36 w 834"/>
                <a:gd name="T113" fmla="*/ 420 h 978"/>
                <a:gd name="T114" fmla="*/ 60 w 834"/>
                <a:gd name="T115" fmla="*/ 396 h 978"/>
                <a:gd name="T116" fmla="*/ 72 w 834"/>
                <a:gd name="T117" fmla="*/ 372 h 978"/>
                <a:gd name="T118" fmla="*/ 108 w 834"/>
                <a:gd name="T119" fmla="*/ 180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34"/>
                <a:gd name="T181" fmla="*/ 0 h 978"/>
                <a:gd name="T182" fmla="*/ 834 w 834"/>
                <a:gd name="T183" fmla="*/ 978 h 9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33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3100" y="1025"/>
              <a:ext cx="469" cy="423"/>
            </a:xfrm>
            <a:custGeom>
              <a:avLst/>
              <a:gdLst>
                <a:gd name="T0" fmla="*/ 60 w 552"/>
                <a:gd name="T1" fmla="*/ 6 h 498"/>
                <a:gd name="T2" fmla="*/ 102 w 552"/>
                <a:gd name="T3" fmla="*/ 12 h 498"/>
                <a:gd name="T4" fmla="*/ 132 w 552"/>
                <a:gd name="T5" fmla="*/ 24 h 498"/>
                <a:gd name="T6" fmla="*/ 174 w 552"/>
                <a:gd name="T7" fmla="*/ 30 h 498"/>
                <a:gd name="T8" fmla="*/ 204 w 552"/>
                <a:gd name="T9" fmla="*/ 42 h 498"/>
                <a:gd name="T10" fmla="*/ 246 w 552"/>
                <a:gd name="T11" fmla="*/ 30 h 498"/>
                <a:gd name="T12" fmla="*/ 270 w 552"/>
                <a:gd name="T13" fmla="*/ 24 h 498"/>
                <a:gd name="T14" fmla="*/ 306 w 552"/>
                <a:gd name="T15" fmla="*/ 6 h 498"/>
                <a:gd name="T16" fmla="*/ 294 w 552"/>
                <a:gd name="T17" fmla="*/ 18 h 498"/>
                <a:gd name="T18" fmla="*/ 318 w 552"/>
                <a:gd name="T19" fmla="*/ 6 h 498"/>
                <a:gd name="T20" fmla="*/ 348 w 552"/>
                <a:gd name="T21" fmla="*/ 12 h 498"/>
                <a:gd name="T22" fmla="*/ 372 w 552"/>
                <a:gd name="T23" fmla="*/ 18 h 498"/>
                <a:gd name="T24" fmla="*/ 354 w 552"/>
                <a:gd name="T25" fmla="*/ 6 h 498"/>
                <a:gd name="T26" fmla="*/ 354 w 552"/>
                <a:gd name="T27" fmla="*/ 18 h 498"/>
                <a:gd name="T28" fmla="*/ 366 w 552"/>
                <a:gd name="T29" fmla="*/ 24 h 498"/>
                <a:gd name="T30" fmla="*/ 372 w 552"/>
                <a:gd name="T31" fmla="*/ 30 h 498"/>
                <a:gd name="T32" fmla="*/ 378 w 552"/>
                <a:gd name="T33" fmla="*/ 30 h 498"/>
                <a:gd name="T34" fmla="*/ 402 w 552"/>
                <a:gd name="T35" fmla="*/ 30 h 498"/>
                <a:gd name="T36" fmla="*/ 414 w 552"/>
                <a:gd name="T37" fmla="*/ 30 h 498"/>
                <a:gd name="T38" fmla="*/ 420 w 552"/>
                <a:gd name="T39" fmla="*/ 36 h 498"/>
                <a:gd name="T40" fmla="*/ 432 w 552"/>
                <a:gd name="T41" fmla="*/ 30 h 498"/>
                <a:gd name="T42" fmla="*/ 468 w 552"/>
                <a:gd name="T43" fmla="*/ 24 h 498"/>
                <a:gd name="T44" fmla="*/ 492 w 552"/>
                <a:gd name="T45" fmla="*/ 60 h 498"/>
                <a:gd name="T46" fmla="*/ 510 w 552"/>
                <a:gd name="T47" fmla="*/ 108 h 498"/>
                <a:gd name="T48" fmla="*/ 498 w 552"/>
                <a:gd name="T49" fmla="*/ 138 h 498"/>
                <a:gd name="T50" fmla="*/ 486 w 552"/>
                <a:gd name="T51" fmla="*/ 168 h 498"/>
                <a:gd name="T52" fmla="*/ 474 w 552"/>
                <a:gd name="T53" fmla="*/ 192 h 498"/>
                <a:gd name="T54" fmla="*/ 450 w 552"/>
                <a:gd name="T55" fmla="*/ 180 h 498"/>
                <a:gd name="T56" fmla="*/ 426 w 552"/>
                <a:gd name="T57" fmla="*/ 156 h 498"/>
                <a:gd name="T58" fmla="*/ 420 w 552"/>
                <a:gd name="T59" fmla="*/ 132 h 498"/>
                <a:gd name="T60" fmla="*/ 402 w 552"/>
                <a:gd name="T61" fmla="*/ 108 h 498"/>
                <a:gd name="T62" fmla="*/ 396 w 552"/>
                <a:gd name="T63" fmla="*/ 96 h 498"/>
                <a:gd name="T64" fmla="*/ 390 w 552"/>
                <a:gd name="T65" fmla="*/ 96 h 498"/>
                <a:gd name="T66" fmla="*/ 390 w 552"/>
                <a:gd name="T67" fmla="*/ 120 h 498"/>
                <a:gd name="T68" fmla="*/ 402 w 552"/>
                <a:gd name="T69" fmla="*/ 150 h 498"/>
                <a:gd name="T70" fmla="*/ 420 w 552"/>
                <a:gd name="T71" fmla="*/ 174 h 498"/>
                <a:gd name="T72" fmla="*/ 438 w 552"/>
                <a:gd name="T73" fmla="*/ 192 h 498"/>
                <a:gd name="T74" fmla="*/ 438 w 552"/>
                <a:gd name="T75" fmla="*/ 198 h 498"/>
                <a:gd name="T76" fmla="*/ 450 w 552"/>
                <a:gd name="T77" fmla="*/ 216 h 498"/>
                <a:gd name="T78" fmla="*/ 462 w 552"/>
                <a:gd name="T79" fmla="*/ 234 h 498"/>
                <a:gd name="T80" fmla="*/ 474 w 552"/>
                <a:gd name="T81" fmla="*/ 270 h 498"/>
                <a:gd name="T82" fmla="*/ 492 w 552"/>
                <a:gd name="T83" fmla="*/ 300 h 498"/>
                <a:gd name="T84" fmla="*/ 504 w 552"/>
                <a:gd name="T85" fmla="*/ 330 h 498"/>
                <a:gd name="T86" fmla="*/ 522 w 552"/>
                <a:gd name="T87" fmla="*/ 354 h 498"/>
                <a:gd name="T88" fmla="*/ 540 w 552"/>
                <a:gd name="T89" fmla="*/ 378 h 498"/>
                <a:gd name="T90" fmla="*/ 546 w 552"/>
                <a:gd name="T91" fmla="*/ 390 h 498"/>
                <a:gd name="T92" fmla="*/ 534 w 552"/>
                <a:gd name="T93" fmla="*/ 396 h 498"/>
                <a:gd name="T94" fmla="*/ 540 w 552"/>
                <a:gd name="T95" fmla="*/ 408 h 498"/>
                <a:gd name="T96" fmla="*/ 510 w 552"/>
                <a:gd name="T97" fmla="*/ 438 h 498"/>
                <a:gd name="T98" fmla="*/ 360 w 552"/>
                <a:gd name="T99" fmla="*/ 480 h 498"/>
                <a:gd name="T100" fmla="*/ 18 w 552"/>
                <a:gd name="T101" fmla="*/ 480 h 498"/>
                <a:gd name="T102" fmla="*/ 12 w 552"/>
                <a:gd name="T103" fmla="*/ 102 h 498"/>
                <a:gd name="T104" fmla="*/ 12 w 552"/>
                <a:gd name="T105" fmla="*/ 60 h 498"/>
                <a:gd name="T106" fmla="*/ 12 w 552"/>
                <a:gd name="T107" fmla="*/ 24 h 498"/>
                <a:gd name="T108" fmla="*/ 24 w 552"/>
                <a:gd name="T109" fmla="*/ 6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498"/>
                <a:gd name="T167" fmla="*/ 552 w 552"/>
                <a:gd name="T168" fmla="*/ 498 h 49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34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595" y="1606"/>
              <a:ext cx="285" cy="235"/>
            </a:xfrm>
            <a:custGeom>
              <a:avLst/>
              <a:gdLst>
                <a:gd name="T0" fmla="*/ 120 w 336"/>
                <a:gd name="T1" fmla="*/ 12 h 276"/>
                <a:gd name="T2" fmla="*/ 126 w 336"/>
                <a:gd name="T3" fmla="*/ 30 h 276"/>
                <a:gd name="T4" fmla="*/ 132 w 336"/>
                <a:gd name="T5" fmla="*/ 48 h 276"/>
                <a:gd name="T6" fmla="*/ 132 w 336"/>
                <a:gd name="T7" fmla="*/ 60 h 276"/>
                <a:gd name="T8" fmla="*/ 138 w 336"/>
                <a:gd name="T9" fmla="*/ 66 h 276"/>
                <a:gd name="T10" fmla="*/ 138 w 336"/>
                <a:gd name="T11" fmla="*/ 90 h 276"/>
                <a:gd name="T12" fmla="*/ 150 w 336"/>
                <a:gd name="T13" fmla="*/ 114 h 276"/>
                <a:gd name="T14" fmla="*/ 162 w 336"/>
                <a:gd name="T15" fmla="*/ 126 h 276"/>
                <a:gd name="T16" fmla="*/ 168 w 336"/>
                <a:gd name="T17" fmla="*/ 144 h 276"/>
                <a:gd name="T18" fmla="*/ 168 w 336"/>
                <a:gd name="T19" fmla="*/ 126 h 276"/>
                <a:gd name="T20" fmla="*/ 174 w 336"/>
                <a:gd name="T21" fmla="*/ 126 h 276"/>
                <a:gd name="T22" fmla="*/ 186 w 336"/>
                <a:gd name="T23" fmla="*/ 138 h 276"/>
                <a:gd name="T24" fmla="*/ 186 w 336"/>
                <a:gd name="T25" fmla="*/ 150 h 276"/>
                <a:gd name="T26" fmla="*/ 198 w 336"/>
                <a:gd name="T27" fmla="*/ 150 h 276"/>
                <a:gd name="T28" fmla="*/ 204 w 336"/>
                <a:gd name="T29" fmla="*/ 144 h 276"/>
                <a:gd name="T30" fmla="*/ 204 w 336"/>
                <a:gd name="T31" fmla="*/ 144 h 276"/>
                <a:gd name="T32" fmla="*/ 210 w 336"/>
                <a:gd name="T33" fmla="*/ 150 h 276"/>
                <a:gd name="T34" fmla="*/ 228 w 336"/>
                <a:gd name="T35" fmla="*/ 162 h 276"/>
                <a:gd name="T36" fmla="*/ 246 w 336"/>
                <a:gd name="T37" fmla="*/ 174 h 276"/>
                <a:gd name="T38" fmla="*/ 258 w 336"/>
                <a:gd name="T39" fmla="*/ 198 h 276"/>
                <a:gd name="T40" fmla="*/ 270 w 336"/>
                <a:gd name="T41" fmla="*/ 204 h 276"/>
                <a:gd name="T42" fmla="*/ 282 w 336"/>
                <a:gd name="T43" fmla="*/ 216 h 276"/>
                <a:gd name="T44" fmla="*/ 294 w 336"/>
                <a:gd name="T45" fmla="*/ 216 h 276"/>
                <a:gd name="T46" fmla="*/ 300 w 336"/>
                <a:gd name="T47" fmla="*/ 234 h 276"/>
                <a:gd name="T48" fmla="*/ 312 w 336"/>
                <a:gd name="T49" fmla="*/ 246 h 276"/>
                <a:gd name="T50" fmla="*/ 318 w 336"/>
                <a:gd name="T51" fmla="*/ 252 h 276"/>
                <a:gd name="T52" fmla="*/ 324 w 336"/>
                <a:gd name="T53" fmla="*/ 252 h 276"/>
                <a:gd name="T54" fmla="*/ 330 w 336"/>
                <a:gd name="T55" fmla="*/ 258 h 276"/>
                <a:gd name="T56" fmla="*/ 318 w 336"/>
                <a:gd name="T57" fmla="*/ 264 h 276"/>
                <a:gd name="T58" fmla="*/ 306 w 336"/>
                <a:gd name="T59" fmla="*/ 270 h 276"/>
                <a:gd name="T60" fmla="*/ 288 w 336"/>
                <a:gd name="T61" fmla="*/ 258 h 276"/>
                <a:gd name="T62" fmla="*/ 276 w 336"/>
                <a:gd name="T63" fmla="*/ 246 h 276"/>
                <a:gd name="T64" fmla="*/ 246 w 336"/>
                <a:gd name="T65" fmla="*/ 216 h 276"/>
                <a:gd name="T66" fmla="*/ 228 w 336"/>
                <a:gd name="T67" fmla="*/ 198 h 276"/>
                <a:gd name="T68" fmla="*/ 210 w 336"/>
                <a:gd name="T69" fmla="*/ 186 h 276"/>
                <a:gd name="T70" fmla="*/ 186 w 336"/>
                <a:gd name="T71" fmla="*/ 174 h 276"/>
                <a:gd name="T72" fmla="*/ 162 w 336"/>
                <a:gd name="T73" fmla="*/ 174 h 276"/>
                <a:gd name="T74" fmla="*/ 150 w 336"/>
                <a:gd name="T75" fmla="*/ 174 h 276"/>
                <a:gd name="T76" fmla="*/ 132 w 336"/>
                <a:gd name="T77" fmla="*/ 162 h 276"/>
                <a:gd name="T78" fmla="*/ 120 w 336"/>
                <a:gd name="T79" fmla="*/ 174 h 276"/>
                <a:gd name="T80" fmla="*/ 96 w 336"/>
                <a:gd name="T81" fmla="*/ 174 h 276"/>
                <a:gd name="T82" fmla="*/ 84 w 336"/>
                <a:gd name="T83" fmla="*/ 162 h 276"/>
                <a:gd name="T84" fmla="*/ 60 w 336"/>
                <a:gd name="T85" fmla="*/ 192 h 276"/>
                <a:gd name="T86" fmla="*/ 48 w 336"/>
                <a:gd name="T87" fmla="*/ 180 h 276"/>
                <a:gd name="T88" fmla="*/ 36 w 336"/>
                <a:gd name="T89" fmla="*/ 180 h 276"/>
                <a:gd name="T90" fmla="*/ 24 w 336"/>
                <a:gd name="T91" fmla="*/ 180 h 276"/>
                <a:gd name="T92" fmla="*/ 6 w 336"/>
                <a:gd name="T93" fmla="*/ 174 h 276"/>
                <a:gd name="T94" fmla="*/ 0 w 336"/>
                <a:gd name="T95" fmla="*/ 144 h 276"/>
                <a:gd name="T96" fmla="*/ 12 w 336"/>
                <a:gd name="T97" fmla="*/ 126 h 276"/>
                <a:gd name="T98" fmla="*/ 18 w 336"/>
                <a:gd name="T99" fmla="*/ 102 h 276"/>
                <a:gd name="T100" fmla="*/ 30 w 336"/>
                <a:gd name="T101" fmla="*/ 84 h 276"/>
                <a:gd name="T102" fmla="*/ 30 w 336"/>
                <a:gd name="T103" fmla="*/ 72 h 276"/>
                <a:gd name="T104" fmla="*/ 30 w 336"/>
                <a:gd name="T105" fmla="*/ 60 h 276"/>
                <a:gd name="T106" fmla="*/ 36 w 336"/>
                <a:gd name="T107" fmla="*/ 42 h 276"/>
                <a:gd name="T108" fmla="*/ 54 w 336"/>
                <a:gd name="T109" fmla="*/ 36 h 276"/>
                <a:gd name="T110" fmla="*/ 66 w 336"/>
                <a:gd name="T111" fmla="*/ 24 h 276"/>
                <a:gd name="T112" fmla="*/ 84 w 336"/>
                <a:gd name="T113" fmla="*/ 18 h 276"/>
                <a:gd name="T114" fmla="*/ 96 w 336"/>
                <a:gd name="T115" fmla="*/ 18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36"/>
                <a:gd name="T175" fmla="*/ 0 h 276"/>
                <a:gd name="T176" fmla="*/ 336 w 336"/>
                <a:gd name="T177" fmla="*/ 276 h 2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35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3304" y="2187"/>
              <a:ext cx="235" cy="240"/>
            </a:xfrm>
            <a:custGeom>
              <a:avLst/>
              <a:gdLst>
                <a:gd name="T0" fmla="*/ 72 w 276"/>
                <a:gd name="T1" fmla="*/ 30 h 282"/>
                <a:gd name="T2" fmla="*/ 78 w 276"/>
                <a:gd name="T3" fmla="*/ 18 h 282"/>
                <a:gd name="T4" fmla="*/ 102 w 276"/>
                <a:gd name="T5" fmla="*/ 24 h 282"/>
                <a:gd name="T6" fmla="*/ 114 w 276"/>
                <a:gd name="T7" fmla="*/ 18 h 282"/>
                <a:gd name="T8" fmla="*/ 120 w 276"/>
                <a:gd name="T9" fmla="*/ 30 h 282"/>
                <a:gd name="T10" fmla="*/ 144 w 276"/>
                <a:gd name="T11" fmla="*/ 24 h 282"/>
                <a:gd name="T12" fmla="*/ 174 w 276"/>
                <a:gd name="T13" fmla="*/ 12 h 282"/>
                <a:gd name="T14" fmla="*/ 210 w 276"/>
                <a:gd name="T15" fmla="*/ 6 h 282"/>
                <a:gd name="T16" fmla="*/ 228 w 276"/>
                <a:gd name="T17" fmla="*/ 6 h 282"/>
                <a:gd name="T18" fmla="*/ 234 w 276"/>
                <a:gd name="T19" fmla="*/ 12 h 282"/>
                <a:gd name="T20" fmla="*/ 234 w 276"/>
                <a:gd name="T21" fmla="*/ 18 h 282"/>
                <a:gd name="T22" fmla="*/ 234 w 276"/>
                <a:gd name="T23" fmla="*/ 24 h 282"/>
                <a:gd name="T24" fmla="*/ 246 w 276"/>
                <a:gd name="T25" fmla="*/ 30 h 282"/>
                <a:gd name="T26" fmla="*/ 246 w 276"/>
                <a:gd name="T27" fmla="*/ 36 h 282"/>
                <a:gd name="T28" fmla="*/ 246 w 276"/>
                <a:gd name="T29" fmla="*/ 42 h 282"/>
                <a:gd name="T30" fmla="*/ 252 w 276"/>
                <a:gd name="T31" fmla="*/ 54 h 282"/>
                <a:gd name="T32" fmla="*/ 258 w 276"/>
                <a:gd name="T33" fmla="*/ 66 h 282"/>
                <a:gd name="T34" fmla="*/ 270 w 276"/>
                <a:gd name="T35" fmla="*/ 84 h 282"/>
                <a:gd name="T36" fmla="*/ 270 w 276"/>
                <a:gd name="T37" fmla="*/ 108 h 282"/>
                <a:gd name="T38" fmla="*/ 270 w 276"/>
                <a:gd name="T39" fmla="*/ 132 h 282"/>
                <a:gd name="T40" fmla="*/ 258 w 276"/>
                <a:gd name="T41" fmla="*/ 138 h 282"/>
                <a:gd name="T42" fmla="*/ 258 w 276"/>
                <a:gd name="T43" fmla="*/ 144 h 282"/>
                <a:gd name="T44" fmla="*/ 246 w 276"/>
                <a:gd name="T45" fmla="*/ 150 h 282"/>
                <a:gd name="T46" fmla="*/ 246 w 276"/>
                <a:gd name="T47" fmla="*/ 168 h 282"/>
                <a:gd name="T48" fmla="*/ 234 w 276"/>
                <a:gd name="T49" fmla="*/ 174 h 282"/>
                <a:gd name="T50" fmla="*/ 228 w 276"/>
                <a:gd name="T51" fmla="*/ 192 h 282"/>
                <a:gd name="T52" fmla="*/ 222 w 276"/>
                <a:gd name="T53" fmla="*/ 204 h 282"/>
                <a:gd name="T54" fmla="*/ 216 w 276"/>
                <a:gd name="T55" fmla="*/ 228 h 282"/>
                <a:gd name="T56" fmla="*/ 102 w 276"/>
                <a:gd name="T57" fmla="*/ 258 h 282"/>
                <a:gd name="T58" fmla="*/ 66 w 276"/>
                <a:gd name="T59" fmla="*/ 258 h 282"/>
                <a:gd name="T60" fmla="*/ 48 w 276"/>
                <a:gd name="T61" fmla="*/ 258 h 282"/>
                <a:gd name="T62" fmla="*/ 36 w 276"/>
                <a:gd name="T63" fmla="*/ 264 h 282"/>
                <a:gd name="T64" fmla="*/ 30 w 276"/>
                <a:gd name="T65" fmla="*/ 276 h 282"/>
                <a:gd name="T66" fmla="*/ 18 w 276"/>
                <a:gd name="T67" fmla="*/ 282 h 282"/>
                <a:gd name="T68" fmla="*/ 12 w 276"/>
                <a:gd name="T69" fmla="*/ 270 h 282"/>
                <a:gd name="T70" fmla="*/ 6 w 276"/>
                <a:gd name="T71" fmla="*/ 270 h 282"/>
                <a:gd name="T72" fmla="*/ 0 w 276"/>
                <a:gd name="T73" fmla="*/ 264 h 282"/>
                <a:gd name="T74" fmla="*/ 6 w 276"/>
                <a:gd name="T75" fmla="*/ 252 h 282"/>
                <a:gd name="T76" fmla="*/ 6 w 276"/>
                <a:gd name="T77" fmla="*/ 234 h 282"/>
                <a:gd name="T78" fmla="*/ 12 w 276"/>
                <a:gd name="T79" fmla="*/ 204 h 282"/>
                <a:gd name="T80" fmla="*/ 18 w 276"/>
                <a:gd name="T81" fmla="*/ 192 h 282"/>
                <a:gd name="T82" fmla="*/ 24 w 276"/>
                <a:gd name="T83" fmla="*/ 174 h 282"/>
                <a:gd name="T84" fmla="*/ 30 w 276"/>
                <a:gd name="T85" fmla="*/ 162 h 282"/>
                <a:gd name="T86" fmla="*/ 36 w 276"/>
                <a:gd name="T87" fmla="*/ 150 h 282"/>
                <a:gd name="T88" fmla="*/ 60 w 276"/>
                <a:gd name="T89" fmla="*/ 132 h 282"/>
                <a:gd name="T90" fmla="*/ 84 w 276"/>
                <a:gd name="T91" fmla="*/ 108 h 282"/>
                <a:gd name="T92" fmla="*/ 78 w 276"/>
                <a:gd name="T93" fmla="*/ 96 h 282"/>
                <a:gd name="T94" fmla="*/ 66 w 276"/>
                <a:gd name="T95" fmla="*/ 90 h 282"/>
                <a:gd name="T96" fmla="*/ 60 w 276"/>
                <a:gd name="T97" fmla="*/ 78 h 282"/>
                <a:gd name="T98" fmla="*/ 66 w 276"/>
                <a:gd name="T99" fmla="*/ 60 h 282"/>
                <a:gd name="T100" fmla="*/ 66 w 276"/>
                <a:gd name="T101" fmla="*/ 48 h 282"/>
                <a:gd name="T102" fmla="*/ 66 w 276"/>
                <a:gd name="T103" fmla="*/ 36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6"/>
                <a:gd name="T157" fmla="*/ 0 h 282"/>
                <a:gd name="T158" fmla="*/ 276 w 276"/>
                <a:gd name="T159" fmla="*/ 282 h 2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36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3452" y="1734"/>
              <a:ext cx="633" cy="484"/>
            </a:xfrm>
            <a:custGeom>
              <a:avLst/>
              <a:gdLst>
                <a:gd name="T0" fmla="*/ 186 w 744"/>
                <a:gd name="T1" fmla="*/ 30 h 570"/>
                <a:gd name="T2" fmla="*/ 204 w 744"/>
                <a:gd name="T3" fmla="*/ 24 h 570"/>
                <a:gd name="T4" fmla="*/ 222 w 744"/>
                <a:gd name="T5" fmla="*/ 42 h 570"/>
                <a:gd name="T6" fmla="*/ 258 w 744"/>
                <a:gd name="T7" fmla="*/ 12 h 570"/>
                <a:gd name="T8" fmla="*/ 282 w 744"/>
                <a:gd name="T9" fmla="*/ 24 h 570"/>
                <a:gd name="T10" fmla="*/ 306 w 744"/>
                <a:gd name="T11" fmla="*/ 18 h 570"/>
                <a:gd name="T12" fmla="*/ 330 w 744"/>
                <a:gd name="T13" fmla="*/ 18 h 570"/>
                <a:gd name="T14" fmla="*/ 360 w 744"/>
                <a:gd name="T15" fmla="*/ 24 h 570"/>
                <a:gd name="T16" fmla="*/ 390 w 744"/>
                <a:gd name="T17" fmla="*/ 42 h 570"/>
                <a:gd name="T18" fmla="*/ 432 w 744"/>
                <a:gd name="T19" fmla="*/ 84 h 570"/>
                <a:gd name="T20" fmla="*/ 450 w 744"/>
                <a:gd name="T21" fmla="*/ 108 h 570"/>
                <a:gd name="T22" fmla="*/ 462 w 744"/>
                <a:gd name="T23" fmla="*/ 132 h 570"/>
                <a:gd name="T24" fmla="*/ 438 w 744"/>
                <a:gd name="T25" fmla="*/ 156 h 570"/>
                <a:gd name="T26" fmla="*/ 438 w 744"/>
                <a:gd name="T27" fmla="*/ 192 h 570"/>
                <a:gd name="T28" fmla="*/ 468 w 744"/>
                <a:gd name="T29" fmla="*/ 198 h 570"/>
                <a:gd name="T30" fmla="*/ 492 w 744"/>
                <a:gd name="T31" fmla="*/ 198 h 570"/>
                <a:gd name="T32" fmla="*/ 486 w 744"/>
                <a:gd name="T33" fmla="*/ 228 h 570"/>
                <a:gd name="T34" fmla="*/ 510 w 744"/>
                <a:gd name="T35" fmla="*/ 252 h 570"/>
                <a:gd name="T36" fmla="*/ 540 w 744"/>
                <a:gd name="T37" fmla="*/ 288 h 570"/>
                <a:gd name="T38" fmla="*/ 648 w 744"/>
                <a:gd name="T39" fmla="*/ 330 h 570"/>
                <a:gd name="T40" fmla="*/ 594 w 744"/>
                <a:gd name="T41" fmla="*/ 498 h 570"/>
                <a:gd name="T42" fmla="*/ 498 w 744"/>
                <a:gd name="T43" fmla="*/ 516 h 570"/>
                <a:gd name="T44" fmla="*/ 474 w 744"/>
                <a:gd name="T45" fmla="*/ 534 h 570"/>
                <a:gd name="T46" fmla="*/ 444 w 744"/>
                <a:gd name="T47" fmla="*/ 546 h 570"/>
                <a:gd name="T48" fmla="*/ 408 w 744"/>
                <a:gd name="T49" fmla="*/ 546 h 570"/>
                <a:gd name="T50" fmla="*/ 390 w 744"/>
                <a:gd name="T51" fmla="*/ 528 h 570"/>
                <a:gd name="T52" fmla="*/ 354 w 744"/>
                <a:gd name="T53" fmla="*/ 540 h 570"/>
                <a:gd name="T54" fmla="*/ 318 w 744"/>
                <a:gd name="T55" fmla="*/ 570 h 570"/>
                <a:gd name="T56" fmla="*/ 288 w 744"/>
                <a:gd name="T57" fmla="*/ 564 h 570"/>
                <a:gd name="T58" fmla="*/ 252 w 744"/>
                <a:gd name="T59" fmla="*/ 564 h 570"/>
                <a:gd name="T60" fmla="*/ 198 w 744"/>
                <a:gd name="T61" fmla="*/ 528 h 570"/>
                <a:gd name="T62" fmla="*/ 156 w 744"/>
                <a:gd name="T63" fmla="*/ 522 h 570"/>
                <a:gd name="T64" fmla="*/ 144 w 744"/>
                <a:gd name="T65" fmla="*/ 486 h 570"/>
                <a:gd name="T66" fmla="*/ 132 w 744"/>
                <a:gd name="T67" fmla="*/ 474 h 570"/>
                <a:gd name="T68" fmla="*/ 102 w 744"/>
                <a:gd name="T69" fmla="*/ 456 h 570"/>
                <a:gd name="T70" fmla="*/ 96 w 744"/>
                <a:gd name="T71" fmla="*/ 420 h 570"/>
                <a:gd name="T72" fmla="*/ 84 w 744"/>
                <a:gd name="T73" fmla="*/ 408 h 570"/>
                <a:gd name="T74" fmla="*/ 72 w 744"/>
                <a:gd name="T75" fmla="*/ 402 h 570"/>
                <a:gd name="T76" fmla="*/ 48 w 744"/>
                <a:gd name="T77" fmla="*/ 384 h 570"/>
                <a:gd name="T78" fmla="*/ 36 w 744"/>
                <a:gd name="T79" fmla="*/ 360 h 570"/>
                <a:gd name="T80" fmla="*/ 24 w 744"/>
                <a:gd name="T81" fmla="*/ 360 h 570"/>
                <a:gd name="T82" fmla="*/ 0 w 744"/>
                <a:gd name="T83" fmla="*/ 354 h 570"/>
                <a:gd name="T84" fmla="*/ 6 w 744"/>
                <a:gd name="T85" fmla="*/ 336 h 570"/>
                <a:gd name="T86" fmla="*/ 18 w 744"/>
                <a:gd name="T87" fmla="*/ 324 h 570"/>
                <a:gd name="T88" fmla="*/ 36 w 744"/>
                <a:gd name="T89" fmla="*/ 324 h 570"/>
                <a:gd name="T90" fmla="*/ 54 w 744"/>
                <a:gd name="T91" fmla="*/ 306 h 570"/>
                <a:gd name="T92" fmla="*/ 60 w 744"/>
                <a:gd name="T93" fmla="*/ 252 h 570"/>
                <a:gd name="T94" fmla="*/ 66 w 744"/>
                <a:gd name="T95" fmla="*/ 222 h 570"/>
                <a:gd name="T96" fmla="*/ 72 w 744"/>
                <a:gd name="T97" fmla="*/ 204 h 570"/>
                <a:gd name="T98" fmla="*/ 90 w 744"/>
                <a:gd name="T99" fmla="*/ 204 h 570"/>
                <a:gd name="T100" fmla="*/ 102 w 744"/>
                <a:gd name="T101" fmla="*/ 174 h 570"/>
                <a:gd name="T102" fmla="*/ 114 w 744"/>
                <a:gd name="T103" fmla="*/ 144 h 570"/>
                <a:gd name="T104" fmla="*/ 132 w 744"/>
                <a:gd name="T105" fmla="*/ 114 h 570"/>
                <a:gd name="T106" fmla="*/ 156 w 744"/>
                <a:gd name="T107" fmla="*/ 108 h 570"/>
                <a:gd name="T108" fmla="*/ 168 w 744"/>
                <a:gd name="T109" fmla="*/ 72 h 570"/>
                <a:gd name="T110" fmla="*/ 174 w 744"/>
                <a:gd name="T111" fmla="*/ 48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4"/>
                <a:gd name="T169" fmla="*/ 0 h 570"/>
                <a:gd name="T170" fmla="*/ 744 w 744"/>
                <a:gd name="T171" fmla="*/ 570 h 5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37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3789" y="1856"/>
              <a:ext cx="438" cy="576"/>
            </a:xfrm>
            <a:custGeom>
              <a:avLst/>
              <a:gdLst>
                <a:gd name="T0" fmla="*/ 60 w 516"/>
                <a:gd name="T1" fmla="*/ 390 h 678"/>
                <a:gd name="T2" fmla="*/ 90 w 516"/>
                <a:gd name="T3" fmla="*/ 384 h 678"/>
                <a:gd name="T4" fmla="*/ 102 w 516"/>
                <a:gd name="T5" fmla="*/ 366 h 678"/>
                <a:gd name="T6" fmla="*/ 198 w 516"/>
                <a:gd name="T7" fmla="*/ 354 h 678"/>
                <a:gd name="T8" fmla="*/ 258 w 516"/>
                <a:gd name="T9" fmla="*/ 186 h 678"/>
                <a:gd name="T10" fmla="*/ 174 w 516"/>
                <a:gd name="T11" fmla="*/ 156 h 678"/>
                <a:gd name="T12" fmla="*/ 120 w 516"/>
                <a:gd name="T13" fmla="*/ 132 h 678"/>
                <a:gd name="T14" fmla="*/ 102 w 516"/>
                <a:gd name="T15" fmla="*/ 108 h 678"/>
                <a:gd name="T16" fmla="*/ 90 w 516"/>
                <a:gd name="T17" fmla="*/ 78 h 678"/>
                <a:gd name="T18" fmla="*/ 96 w 516"/>
                <a:gd name="T19" fmla="*/ 54 h 678"/>
                <a:gd name="T20" fmla="*/ 114 w 516"/>
                <a:gd name="T21" fmla="*/ 30 h 678"/>
                <a:gd name="T22" fmla="*/ 126 w 516"/>
                <a:gd name="T23" fmla="*/ 36 h 678"/>
                <a:gd name="T24" fmla="*/ 150 w 516"/>
                <a:gd name="T25" fmla="*/ 66 h 678"/>
                <a:gd name="T26" fmla="*/ 168 w 516"/>
                <a:gd name="T27" fmla="*/ 84 h 678"/>
                <a:gd name="T28" fmla="*/ 192 w 516"/>
                <a:gd name="T29" fmla="*/ 78 h 678"/>
                <a:gd name="T30" fmla="*/ 216 w 516"/>
                <a:gd name="T31" fmla="*/ 66 h 678"/>
                <a:gd name="T32" fmla="*/ 240 w 516"/>
                <a:gd name="T33" fmla="*/ 60 h 678"/>
                <a:gd name="T34" fmla="*/ 270 w 516"/>
                <a:gd name="T35" fmla="*/ 66 h 678"/>
                <a:gd name="T36" fmla="*/ 294 w 516"/>
                <a:gd name="T37" fmla="*/ 60 h 678"/>
                <a:gd name="T38" fmla="*/ 312 w 516"/>
                <a:gd name="T39" fmla="*/ 48 h 678"/>
                <a:gd name="T40" fmla="*/ 336 w 516"/>
                <a:gd name="T41" fmla="*/ 48 h 678"/>
                <a:gd name="T42" fmla="*/ 354 w 516"/>
                <a:gd name="T43" fmla="*/ 42 h 678"/>
                <a:gd name="T44" fmla="*/ 384 w 516"/>
                <a:gd name="T45" fmla="*/ 36 h 678"/>
                <a:gd name="T46" fmla="*/ 408 w 516"/>
                <a:gd name="T47" fmla="*/ 36 h 678"/>
                <a:gd name="T48" fmla="*/ 432 w 516"/>
                <a:gd name="T49" fmla="*/ 30 h 678"/>
                <a:gd name="T50" fmla="*/ 450 w 516"/>
                <a:gd name="T51" fmla="*/ 24 h 678"/>
                <a:gd name="T52" fmla="*/ 474 w 516"/>
                <a:gd name="T53" fmla="*/ 12 h 678"/>
                <a:gd name="T54" fmla="*/ 486 w 516"/>
                <a:gd name="T55" fmla="*/ 0 h 678"/>
                <a:gd name="T56" fmla="*/ 510 w 516"/>
                <a:gd name="T57" fmla="*/ 18 h 678"/>
                <a:gd name="T58" fmla="*/ 498 w 516"/>
                <a:gd name="T59" fmla="*/ 42 h 678"/>
                <a:gd name="T60" fmla="*/ 504 w 516"/>
                <a:gd name="T61" fmla="*/ 72 h 678"/>
                <a:gd name="T62" fmla="*/ 504 w 516"/>
                <a:gd name="T63" fmla="*/ 78 h 678"/>
                <a:gd name="T64" fmla="*/ 516 w 516"/>
                <a:gd name="T65" fmla="*/ 84 h 678"/>
                <a:gd name="T66" fmla="*/ 492 w 516"/>
                <a:gd name="T67" fmla="*/ 84 h 678"/>
                <a:gd name="T68" fmla="*/ 486 w 516"/>
                <a:gd name="T69" fmla="*/ 114 h 678"/>
                <a:gd name="T70" fmla="*/ 486 w 516"/>
                <a:gd name="T71" fmla="*/ 138 h 678"/>
                <a:gd name="T72" fmla="*/ 468 w 516"/>
                <a:gd name="T73" fmla="*/ 156 h 678"/>
                <a:gd name="T74" fmla="*/ 456 w 516"/>
                <a:gd name="T75" fmla="*/ 180 h 678"/>
                <a:gd name="T76" fmla="*/ 438 w 516"/>
                <a:gd name="T77" fmla="*/ 204 h 678"/>
                <a:gd name="T78" fmla="*/ 426 w 516"/>
                <a:gd name="T79" fmla="*/ 234 h 678"/>
                <a:gd name="T80" fmla="*/ 408 w 516"/>
                <a:gd name="T81" fmla="*/ 264 h 678"/>
                <a:gd name="T82" fmla="*/ 396 w 516"/>
                <a:gd name="T83" fmla="*/ 294 h 678"/>
                <a:gd name="T84" fmla="*/ 372 w 516"/>
                <a:gd name="T85" fmla="*/ 330 h 678"/>
                <a:gd name="T86" fmla="*/ 348 w 516"/>
                <a:gd name="T87" fmla="*/ 366 h 678"/>
                <a:gd name="T88" fmla="*/ 330 w 516"/>
                <a:gd name="T89" fmla="*/ 390 h 678"/>
                <a:gd name="T90" fmla="*/ 306 w 516"/>
                <a:gd name="T91" fmla="*/ 420 h 678"/>
                <a:gd name="T92" fmla="*/ 282 w 516"/>
                <a:gd name="T93" fmla="*/ 444 h 678"/>
                <a:gd name="T94" fmla="*/ 252 w 516"/>
                <a:gd name="T95" fmla="*/ 468 h 678"/>
                <a:gd name="T96" fmla="*/ 234 w 516"/>
                <a:gd name="T97" fmla="*/ 486 h 678"/>
                <a:gd name="T98" fmla="*/ 210 w 516"/>
                <a:gd name="T99" fmla="*/ 498 h 678"/>
                <a:gd name="T100" fmla="*/ 186 w 516"/>
                <a:gd name="T101" fmla="*/ 516 h 678"/>
                <a:gd name="T102" fmla="*/ 162 w 516"/>
                <a:gd name="T103" fmla="*/ 534 h 678"/>
                <a:gd name="T104" fmla="*/ 144 w 516"/>
                <a:gd name="T105" fmla="*/ 546 h 678"/>
                <a:gd name="T106" fmla="*/ 126 w 516"/>
                <a:gd name="T107" fmla="*/ 564 h 678"/>
                <a:gd name="T108" fmla="*/ 96 w 516"/>
                <a:gd name="T109" fmla="*/ 600 h 678"/>
                <a:gd name="T110" fmla="*/ 72 w 516"/>
                <a:gd name="T111" fmla="*/ 618 h 678"/>
                <a:gd name="T112" fmla="*/ 60 w 516"/>
                <a:gd name="T113" fmla="*/ 636 h 678"/>
                <a:gd name="T114" fmla="*/ 54 w 516"/>
                <a:gd name="T115" fmla="*/ 636 h 678"/>
                <a:gd name="T116" fmla="*/ 48 w 516"/>
                <a:gd name="T117" fmla="*/ 648 h 678"/>
                <a:gd name="T118" fmla="*/ 42 w 516"/>
                <a:gd name="T119" fmla="*/ 660 h 678"/>
                <a:gd name="T120" fmla="*/ 42 w 516"/>
                <a:gd name="T121" fmla="*/ 654 h 678"/>
                <a:gd name="T122" fmla="*/ 0 w 516"/>
                <a:gd name="T123" fmla="*/ 636 h 678"/>
                <a:gd name="T124" fmla="*/ 0 w 516"/>
                <a:gd name="T125" fmla="*/ 498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16"/>
                <a:gd name="T190" fmla="*/ 0 h 678"/>
                <a:gd name="T191" fmla="*/ 516 w 516"/>
                <a:gd name="T192" fmla="*/ 678 h 6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38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3488" y="2152"/>
              <a:ext cx="337" cy="408"/>
            </a:xfrm>
            <a:custGeom>
              <a:avLst/>
              <a:gdLst>
                <a:gd name="T0" fmla="*/ 24 w 396"/>
                <a:gd name="T1" fmla="*/ 18 h 480"/>
                <a:gd name="T2" fmla="*/ 48 w 396"/>
                <a:gd name="T3" fmla="*/ 6 h 480"/>
                <a:gd name="T4" fmla="*/ 72 w 396"/>
                <a:gd name="T5" fmla="*/ 0 h 480"/>
                <a:gd name="T6" fmla="*/ 78 w 396"/>
                <a:gd name="T7" fmla="*/ 18 h 480"/>
                <a:gd name="T8" fmla="*/ 102 w 396"/>
                <a:gd name="T9" fmla="*/ 24 h 480"/>
                <a:gd name="T10" fmla="*/ 132 w 396"/>
                <a:gd name="T11" fmla="*/ 30 h 480"/>
                <a:gd name="T12" fmla="*/ 156 w 396"/>
                <a:gd name="T13" fmla="*/ 36 h 480"/>
                <a:gd name="T14" fmla="*/ 204 w 396"/>
                <a:gd name="T15" fmla="*/ 66 h 480"/>
                <a:gd name="T16" fmla="*/ 228 w 396"/>
                <a:gd name="T17" fmla="*/ 72 h 480"/>
                <a:gd name="T18" fmla="*/ 246 w 396"/>
                <a:gd name="T19" fmla="*/ 72 h 480"/>
                <a:gd name="T20" fmla="*/ 264 w 396"/>
                <a:gd name="T21" fmla="*/ 78 h 480"/>
                <a:gd name="T22" fmla="*/ 294 w 396"/>
                <a:gd name="T23" fmla="*/ 66 h 480"/>
                <a:gd name="T24" fmla="*/ 312 w 396"/>
                <a:gd name="T25" fmla="*/ 48 h 480"/>
                <a:gd name="T26" fmla="*/ 336 w 396"/>
                <a:gd name="T27" fmla="*/ 42 h 480"/>
                <a:gd name="T28" fmla="*/ 354 w 396"/>
                <a:gd name="T29" fmla="*/ 42 h 480"/>
                <a:gd name="T30" fmla="*/ 366 w 396"/>
                <a:gd name="T31" fmla="*/ 54 h 480"/>
                <a:gd name="T32" fmla="*/ 390 w 396"/>
                <a:gd name="T33" fmla="*/ 54 h 480"/>
                <a:gd name="T34" fmla="*/ 354 w 396"/>
                <a:gd name="T35" fmla="*/ 108 h 480"/>
                <a:gd name="T36" fmla="*/ 354 w 396"/>
                <a:gd name="T37" fmla="*/ 252 h 480"/>
                <a:gd name="T38" fmla="*/ 378 w 396"/>
                <a:gd name="T39" fmla="*/ 336 h 480"/>
                <a:gd name="T40" fmla="*/ 372 w 396"/>
                <a:gd name="T41" fmla="*/ 342 h 480"/>
                <a:gd name="T42" fmla="*/ 366 w 396"/>
                <a:gd name="T43" fmla="*/ 348 h 480"/>
                <a:gd name="T44" fmla="*/ 354 w 396"/>
                <a:gd name="T45" fmla="*/ 348 h 480"/>
                <a:gd name="T46" fmla="*/ 348 w 396"/>
                <a:gd name="T47" fmla="*/ 354 h 480"/>
                <a:gd name="T48" fmla="*/ 354 w 396"/>
                <a:gd name="T49" fmla="*/ 360 h 480"/>
                <a:gd name="T50" fmla="*/ 354 w 396"/>
                <a:gd name="T51" fmla="*/ 360 h 480"/>
                <a:gd name="T52" fmla="*/ 342 w 396"/>
                <a:gd name="T53" fmla="*/ 360 h 480"/>
                <a:gd name="T54" fmla="*/ 348 w 396"/>
                <a:gd name="T55" fmla="*/ 366 h 480"/>
                <a:gd name="T56" fmla="*/ 330 w 396"/>
                <a:gd name="T57" fmla="*/ 378 h 480"/>
                <a:gd name="T58" fmla="*/ 312 w 396"/>
                <a:gd name="T59" fmla="*/ 384 h 480"/>
                <a:gd name="T60" fmla="*/ 312 w 396"/>
                <a:gd name="T61" fmla="*/ 396 h 480"/>
                <a:gd name="T62" fmla="*/ 306 w 396"/>
                <a:gd name="T63" fmla="*/ 414 h 480"/>
                <a:gd name="T64" fmla="*/ 306 w 396"/>
                <a:gd name="T65" fmla="*/ 414 h 480"/>
                <a:gd name="T66" fmla="*/ 300 w 396"/>
                <a:gd name="T67" fmla="*/ 426 h 480"/>
                <a:gd name="T68" fmla="*/ 300 w 396"/>
                <a:gd name="T69" fmla="*/ 432 h 480"/>
                <a:gd name="T70" fmla="*/ 294 w 396"/>
                <a:gd name="T71" fmla="*/ 444 h 480"/>
                <a:gd name="T72" fmla="*/ 288 w 396"/>
                <a:gd name="T73" fmla="*/ 450 h 480"/>
                <a:gd name="T74" fmla="*/ 282 w 396"/>
                <a:gd name="T75" fmla="*/ 468 h 480"/>
                <a:gd name="T76" fmla="*/ 276 w 396"/>
                <a:gd name="T77" fmla="*/ 474 h 480"/>
                <a:gd name="T78" fmla="*/ 270 w 396"/>
                <a:gd name="T79" fmla="*/ 480 h 480"/>
                <a:gd name="T80" fmla="*/ 270 w 396"/>
                <a:gd name="T81" fmla="*/ 480 h 480"/>
                <a:gd name="T82" fmla="*/ 204 w 396"/>
                <a:gd name="T83" fmla="*/ 438 h 480"/>
                <a:gd name="T84" fmla="*/ 186 w 396"/>
                <a:gd name="T85" fmla="*/ 420 h 480"/>
                <a:gd name="T86" fmla="*/ 180 w 396"/>
                <a:gd name="T87" fmla="*/ 396 h 480"/>
                <a:gd name="T88" fmla="*/ 96 w 396"/>
                <a:gd name="T89" fmla="*/ 348 h 480"/>
                <a:gd name="T90" fmla="*/ 0 w 396"/>
                <a:gd name="T91" fmla="*/ 300 h 480"/>
                <a:gd name="T92" fmla="*/ 6 w 396"/>
                <a:gd name="T93" fmla="*/ 258 h 480"/>
                <a:gd name="T94" fmla="*/ 12 w 396"/>
                <a:gd name="T95" fmla="*/ 234 h 480"/>
                <a:gd name="T96" fmla="*/ 24 w 396"/>
                <a:gd name="T97" fmla="*/ 216 h 480"/>
                <a:gd name="T98" fmla="*/ 30 w 396"/>
                <a:gd name="T99" fmla="*/ 198 h 480"/>
                <a:gd name="T100" fmla="*/ 42 w 396"/>
                <a:gd name="T101" fmla="*/ 186 h 480"/>
                <a:gd name="T102" fmla="*/ 48 w 396"/>
                <a:gd name="T103" fmla="*/ 180 h 480"/>
                <a:gd name="T104" fmla="*/ 60 w 396"/>
                <a:gd name="T105" fmla="*/ 156 h 480"/>
                <a:gd name="T106" fmla="*/ 54 w 396"/>
                <a:gd name="T107" fmla="*/ 126 h 480"/>
                <a:gd name="T108" fmla="*/ 36 w 396"/>
                <a:gd name="T109" fmla="*/ 108 h 480"/>
                <a:gd name="T110" fmla="*/ 30 w 396"/>
                <a:gd name="T111" fmla="*/ 90 h 480"/>
                <a:gd name="T112" fmla="*/ 30 w 396"/>
                <a:gd name="T113" fmla="*/ 78 h 480"/>
                <a:gd name="T114" fmla="*/ 30 w 396"/>
                <a:gd name="T115" fmla="*/ 66 h 480"/>
                <a:gd name="T116" fmla="*/ 12 w 396"/>
                <a:gd name="T117" fmla="*/ 60 h 480"/>
                <a:gd name="T118" fmla="*/ 18 w 396"/>
                <a:gd name="T119" fmla="*/ 54 h 480"/>
                <a:gd name="T120" fmla="*/ 12 w 396"/>
                <a:gd name="T121" fmla="*/ 42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96"/>
                <a:gd name="T184" fmla="*/ 0 h 480"/>
                <a:gd name="T185" fmla="*/ 396 w 396"/>
                <a:gd name="T186" fmla="*/ 480 h 4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39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3819" y="1825"/>
              <a:ext cx="72" cy="77"/>
            </a:xfrm>
            <a:custGeom>
              <a:avLst/>
              <a:gdLst>
                <a:gd name="T0" fmla="*/ 42 w 84"/>
                <a:gd name="T1" fmla="*/ 12 h 90"/>
                <a:gd name="T2" fmla="*/ 54 w 84"/>
                <a:gd name="T3" fmla="*/ 18 h 90"/>
                <a:gd name="T4" fmla="*/ 54 w 84"/>
                <a:gd name="T5" fmla="*/ 6 h 90"/>
                <a:gd name="T6" fmla="*/ 66 w 84"/>
                <a:gd name="T7" fmla="*/ 6 h 90"/>
                <a:gd name="T8" fmla="*/ 72 w 84"/>
                <a:gd name="T9" fmla="*/ 6 h 90"/>
                <a:gd name="T10" fmla="*/ 78 w 84"/>
                <a:gd name="T11" fmla="*/ 18 h 90"/>
                <a:gd name="T12" fmla="*/ 84 w 84"/>
                <a:gd name="T13" fmla="*/ 24 h 90"/>
                <a:gd name="T14" fmla="*/ 84 w 84"/>
                <a:gd name="T15" fmla="*/ 36 h 90"/>
                <a:gd name="T16" fmla="*/ 78 w 84"/>
                <a:gd name="T17" fmla="*/ 42 h 90"/>
                <a:gd name="T18" fmla="*/ 66 w 84"/>
                <a:gd name="T19" fmla="*/ 42 h 90"/>
                <a:gd name="T20" fmla="*/ 60 w 84"/>
                <a:gd name="T21" fmla="*/ 48 h 90"/>
                <a:gd name="T22" fmla="*/ 54 w 84"/>
                <a:gd name="T23" fmla="*/ 54 h 90"/>
                <a:gd name="T24" fmla="*/ 48 w 84"/>
                <a:gd name="T25" fmla="*/ 60 h 90"/>
                <a:gd name="T26" fmla="*/ 42 w 84"/>
                <a:gd name="T27" fmla="*/ 66 h 90"/>
                <a:gd name="T28" fmla="*/ 48 w 84"/>
                <a:gd name="T29" fmla="*/ 60 h 90"/>
                <a:gd name="T30" fmla="*/ 60 w 84"/>
                <a:gd name="T31" fmla="*/ 60 h 90"/>
                <a:gd name="T32" fmla="*/ 72 w 84"/>
                <a:gd name="T33" fmla="*/ 60 h 90"/>
                <a:gd name="T34" fmla="*/ 72 w 84"/>
                <a:gd name="T35" fmla="*/ 60 h 90"/>
                <a:gd name="T36" fmla="*/ 78 w 84"/>
                <a:gd name="T37" fmla="*/ 66 h 90"/>
                <a:gd name="T38" fmla="*/ 60 w 84"/>
                <a:gd name="T39" fmla="*/ 84 h 90"/>
                <a:gd name="T40" fmla="*/ 54 w 84"/>
                <a:gd name="T41" fmla="*/ 90 h 90"/>
                <a:gd name="T42" fmla="*/ 48 w 84"/>
                <a:gd name="T43" fmla="*/ 84 h 90"/>
                <a:gd name="T44" fmla="*/ 36 w 84"/>
                <a:gd name="T45" fmla="*/ 84 h 90"/>
                <a:gd name="T46" fmla="*/ 30 w 84"/>
                <a:gd name="T47" fmla="*/ 90 h 90"/>
                <a:gd name="T48" fmla="*/ 18 w 84"/>
                <a:gd name="T49" fmla="*/ 90 h 90"/>
                <a:gd name="T50" fmla="*/ 6 w 84"/>
                <a:gd name="T51" fmla="*/ 90 h 90"/>
                <a:gd name="T52" fmla="*/ 6 w 84"/>
                <a:gd name="T53" fmla="*/ 72 h 90"/>
                <a:gd name="T54" fmla="*/ 0 w 84"/>
                <a:gd name="T55" fmla="*/ 60 h 90"/>
                <a:gd name="T56" fmla="*/ 6 w 84"/>
                <a:gd name="T57" fmla="*/ 54 h 90"/>
                <a:gd name="T58" fmla="*/ 12 w 84"/>
                <a:gd name="T59" fmla="*/ 48 h 90"/>
                <a:gd name="T60" fmla="*/ 24 w 84"/>
                <a:gd name="T61" fmla="*/ 36 h 90"/>
                <a:gd name="T62" fmla="*/ 24 w 84"/>
                <a:gd name="T63" fmla="*/ 24 h 90"/>
                <a:gd name="T64" fmla="*/ 30 w 84"/>
                <a:gd name="T65" fmla="*/ 18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4"/>
                <a:gd name="T100" fmla="*/ 0 h 90"/>
                <a:gd name="T101" fmla="*/ 84 w 84"/>
                <a:gd name="T102" fmla="*/ 90 h 9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40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3335" y="2801"/>
              <a:ext cx="443" cy="699"/>
            </a:xfrm>
            <a:custGeom>
              <a:avLst/>
              <a:gdLst>
                <a:gd name="T0" fmla="*/ 300 w 884"/>
                <a:gd name="T1" fmla="*/ 343 h 1393"/>
                <a:gd name="T2" fmla="*/ 359 w 884"/>
                <a:gd name="T3" fmla="*/ 364 h 1393"/>
                <a:gd name="T4" fmla="*/ 354 w 884"/>
                <a:gd name="T5" fmla="*/ 434 h 1393"/>
                <a:gd name="T6" fmla="*/ 364 w 884"/>
                <a:gd name="T7" fmla="*/ 504 h 1393"/>
                <a:gd name="T8" fmla="*/ 413 w 884"/>
                <a:gd name="T9" fmla="*/ 552 h 1393"/>
                <a:gd name="T10" fmla="*/ 413 w 884"/>
                <a:gd name="T11" fmla="*/ 514 h 1393"/>
                <a:gd name="T12" fmla="*/ 461 w 884"/>
                <a:gd name="T13" fmla="*/ 477 h 1393"/>
                <a:gd name="T14" fmla="*/ 359 w 884"/>
                <a:gd name="T15" fmla="*/ 235 h 1393"/>
                <a:gd name="T16" fmla="*/ 434 w 884"/>
                <a:gd name="T17" fmla="*/ 91 h 1393"/>
                <a:gd name="T18" fmla="*/ 493 w 884"/>
                <a:gd name="T19" fmla="*/ 96 h 1393"/>
                <a:gd name="T20" fmla="*/ 568 w 884"/>
                <a:gd name="T21" fmla="*/ 91 h 1393"/>
                <a:gd name="T22" fmla="*/ 638 w 884"/>
                <a:gd name="T23" fmla="*/ 80 h 1393"/>
                <a:gd name="T24" fmla="*/ 702 w 884"/>
                <a:gd name="T25" fmla="*/ 69 h 1393"/>
                <a:gd name="T26" fmla="*/ 788 w 884"/>
                <a:gd name="T27" fmla="*/ 37 h 1393"/>
                <a:gd name="T28" fmla="*/ 857 w 884"/>
                <a:gd name="T29" fmla="*/ 10 h 1393"/>
                <a:gd name="T30" fmla="*/ 857 w 884"/>
                <a:gd name="T31" fmla="*/ 53 h 1393"/>
                <a:gd name="T32" fmla="*/ 847 w 884"/>
                <a:gd name="T33" fmla="*/ 101 h 1393"/>
                <a:gd name="T34" fmla="*/ 857 w 884"/>
                <a:gd name="T35" fmla="*/ 150 h 1393"/>
                <a:gd name="T36" fmla="*/ 852 w 884"/>
                <a:gd name="T37" fmla="*/ 177 h 1393"/>
                <a:gd name="T38" fmla="*/ 852 w 884"/>
                <a:gd name="T39" fmla="*/ 203 h 1393"/>
                <a:gd name="T40" fmla="*/ 863 w 884"/>
                <a:gd name="T41" fmla="*/ 241 h 1393"/>
                <a:gd name="T42" fmla="*/ 868 w 884"/>
                <a:gd name="T43" fmla="*/ 305 h 1393"/>
                <a:gd name="T44" fmla="*/ 863 w 884"/>
                <a:gd name="T45" fmla="*/ 343 h 1393"/>
                <a:gd name="T46" fmla="*/ 879 w 884"/>
                <a:gd name="T47" fmla="*/ 370 h 1393"/>
                <a:gd name="T48" fmla="*/ 868 w 884"/>
                <a:gd name="T49" fmla="*/ 391 h 1393"/>
                <a:gd name="T50" fmla="*/ 857 w 884"/>
                <a:gd name="T51" fmla="*/ 423 h 1393"/>
                <a:gd name="T52" fmla="*/ 820 w 884"/>
                <a:gd name="T53" fmla="*/ 471 h 1393"/>
                <a:gd name="T54" fmla="*/ 799 w 884"/>
                <a:gd name="T55" fmla="*/ 493 h 1393"/>
                <a:gd name="T56" fmla="*/ 782 w 884"/>
                <a:gd name="T57" fmla="*/ 520 h 1393"/>
                <a:gd name="T58" fmla="*/ 702 w 884"/>
                <a:gd name="T59" fmla="*/ 557 h 1393"/>
                <a:gd name="T60" fmla="*/ 659 w 884"/>
                <a:gd name="T61" fmla="*/ 573 h 1393"/>
                <a:gd name="T62" fmla="*/ 606 w 884"/>
                <a:gd name="T63" fmla="*/ 605 h 1393"/>
                <a:gd name="T64" fmla="*/ 552 w 884"/>
                <a:gd name="T65" fmla="*/ 654 h 1393"/>
                <a:gd name="T66" fmla="*/ 525 w 884"/>
                <a:gd name="T67" fmla="*/ 686 h 1393"/>
                <a:gd name="T68" fmla="*/ 493 w 884"/>
                <a:gd name="T69" fmla="*/ 713 h 1393"/>
                <a:gd name="T70" fmla="*/ 450 w 884"/>
                <a:gd name="T71" fmla="*/ 739 h 1393"/>
                <a:gd name="T72" fmla="*/ 429 w 884"/>
                <a:gd name="T73" fmla="*/ 766 h 1393"/>
                <a:gd name="T74" fmla="*/ 391 w 884"/>
                <a:gd name="T75" fmla="*/ 798 h 1393"/>
                <a:gd name="T76" fmla="*/ 380 w 884"/>
                <a:gd name="T77" fmla="*/ 825 h 1393"/>
                <a:gd name="T78" fmla="*/ 364 w 884"/>
                <a:gd name="T79" fmla="*/ 852 h 1393"/>
                <a:gd name="T80" fmla="*/ 386 w 884"/>
                <a:gd name="T81" fmla="*/ 868 h 1393"/>
                <a:gd name="T82" fmla="*/ 402 w 884"/>
                <a:gd name="T83" fmla="*/ 895 h 1393"/>
                <a:gd name="T84" fmla="*/ 407 w 884"/>
                <a:gd name="T85" fmla="*/ 911 h 1393"/>
                <a:gd name="T86" fmla="*/ 423 w 884"/>
                <a:gd name="T87" fmla="*/ 970 h 1393"/>
                <a:gd name="T88" fmla="*/ 445 w 884"/>
                <a:gd name="T89" fmla="*/ 997 h 1393"/>
                <a:gd name="T90" fmla="*/ 439 w 884"/>
                <a:gd name="T91" fmla="*/ 1088 h 1393"/>
                <a:gd name="T92" fmla="*/ 429 w 884"/>
                <a:gd name="T93" fmla="*/ 1141 h 1393"/>
                <a:gd name="T94" fmla="*/ 413 w 884"/>
                <a:gd name="T95" fmla="*/ 1195 h 1393"/>
                <a:gd name="T96" fmla="*/ 273 w 884"/>
                <a:gd name="T97" fmla="*/ 1254 h 1393"/>
                <a:gd name="T98" fmla="*/ 209 w 884"/>
                <a:gd name="T99" fmla="*/ 1308 h 1393"/>
                <a:gd name="T100" fmla="*/ 203 w 884"/>
                <a:gd name="T101" fmla="*/ 1334 h 1393"/>
                <a:gd name="T102" fmla="*/ 220 w 884"/>
                <a:gd name="T103" fmla="*/ 1393 h 1393"/>
                <a:gd name="T104" fmla="*/ 150 w 884"/>
                <a:gd name="T105" fmla="*/ 1292 h 1393"/>
                <a:gd name="T106" fmla="*/ 123 w 884"/>
                <a:gd name="T107" fmla="*/ 1125 h 1393"/>
                <a:gd name="T108" fmla="*/ 193 w 884"/>
                <a:gd name="T109" fmla="*/ 889 h 1393"/>
                <a:gd name="T110" fmla="*/ 236 w 884"/>
                <a:gd name="T111" fmla="*/ 793 h 1393"/>
                <a:gd name="T112" fmla="*/ 209 w 884"/>
                <a:gd name="T113" fmla="*/ 729 h 1393"/>
                <a:gd name="T114" fmla="*/ 230 w 884"/>
                <a:gd name="T115" fmla="*/ 659 h 1393"/>
                <a:gd name="T116" fmla="*/ 230 w 884"/>
                <a:gd name="T117" fmla="*/ 600 h 1393"/>
                <a:gd name="T118" fmla="*/ 182 w 884"/>
                <a:gd name="T119" fmla="*/ 509 h 1393"/>
                <a:gd name="T120" fmla="*/ 80 w 884"/>
                <a:gd name="T121" fmla="*/ 466 h 1393"/>
                <a:gd name="T122" fmla="*/ 5 w 884"/>
                <a:gd name="T123" fmla="*/ 396 h 1393"/>
                <a:gd name="T124" fmla="*/ 198 w 884"/>
                <a:gd name="T125" fmla="*/ 316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84"/>
                <a:gd name="T190" fmla="*/ 0 h 1393"/>
                <a:gd name="T191" fmla="*/ 884 w 884"/>
                <a:gd name="T192" fmla="*/ 1393 h 139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9" name="Group 41"/>
            <p:cNvGrpSpPr>
              <a:grpSpLocks/>
            </p:cNvGrpSpPr>
            <p:nvPr/>
          </p:nvGrpSpPr>
          <p:grpSpPr bwMode="auto">
            <a:xfrm>
              <a:off x="2555" y="2549"/>
              <a:ext cx="520" cy="577"/>
              <a:chOff x="2555" y="2549"/>
              <a:chExt cx="520" cy="577"/>
            </a:xfrm>
            <a:grpFill/>
          </p:grpSpPr>
          <p:sp>
            <p:nvSpPr>
              <p:cNvPr id="168" name="Freeform 4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102 w 612"/>
                  <a:gd name="T1" fmla="*/ 0 h 606"/>
                  <a:gd name="T2" fmla="*/ 144 w 612"/>
                  <a:gd name="T3" fmla="*/ 0 h 606"/>
                  <a:gd name="T4" fmla="*/ 228 w 612"/>
                  <a:gd name="T5" fmla="*/ 0 h 606"/>
                  <a:gd name="T6" fmla="*/ 246 w 612"/>
                  <a:gd name="T7" fmla="*/ 24 h 606"/>
                  <a:gd name="T8" fmla="*/ 258 w 612"/>
                  <a:gd name="T9" fmla="*/ 54 h 606"/>
                  <a:gd name="T10" fmla="*/ 270 w 612"/>
                  <a:gd name="T11" fmla="*/ 84 h 606"/>
                  <a:gd name="T12" fmla="*/ 288 w 612"/>
                  <a:gd name="T13" fmla="*/ 108 h 606"/>
                  <a:gd name="T14" fmla="*/ 312 w 612"/>
                  <a:gd name="T15" fmla="*/ 108 h 606"/>
                  <a:gd name="T16" fmla="*/ 348 w 612"/>
                  <a:gd name="T17" fmla="*/ 108 h 606"/>
                  <a:gd name="T18" fmla="*/ 384 w 612"/>
                  <a:gd name="T19" fmla="*/ 78 h 606"/>
                  <a:gd name="T20" fmla="*/ 426 w 612"/>
                  <a:gd name="T21" fmla="*/ 54 h 606"/>
                  <a:gd name="T22" fmla="*/ 498 w 612"/>
                  <a:gd name="T23" fmla="*/ 78 h 606"/>
                  <a:gd name="T24" fmla="*/ 498 w 612"/>
                  <a:gd name="T25" fmla="*/ 90 h 606"/>
                  <a:gd name="T26" fmla="*/ 504 w 612"/>
                  <a:gd name="T27" fmla="*/ 132 h 606"/>
                  <a:gd name="T28" fmla="*/ 504 w 612"/>
                  <a:gd name="T29" fmla="*/ 168 h 606"/>
                  <a:gd name="T30" fmla="*/ 510 w 612"/>
                  <a:gd name="T31" fmla="*/ 192 h 606"/>
                  <a:gd name="T32" fmla="*/ 522 w 612"/>
                  <a:gd name="T33" fmla="*/ 228 h 606"/>
                  <a:gd name="T34" fmla="*/ 516 w 612"/>
                  <a:gd name="T35" fmla="*/ 252 h 606"/>
                  <a:gd name="T36" fmla="*/ 534 w 612"/>
                  <a:gd name="T37" fmla="*/ 258 h 606"/>
                  <a:gd name="T38" fmla="*/ 564 w 612"/>
                  <a:gd name="T39" fmla="*/ 264 h 606"/>
                  <a:gd name="T40" fmla="*/ 588 w 612"/>
                  <a:gd name="T41" fmla="*/ 258 h 606"/>
                  <a:gd name="T42" fmla="*/ 612 w 612"/>
                  <a:gd name="T43" fmla="*/ 264 h 606"/>
                  <a:gd name="T44" fmla="*/ 612 w 612"/>
                  <a:gd name="T45" fmla="*/ 294 h 606"/>
                  <a:gd name="T46" fmla="*/ 612 w 612"/>
                  <a:gd name="T47" fmla="*/ 330 h 606"/>
                  <a:gd name="T48" fmla="*/ 510 w 612"/>
                  <a:gd name="T49" fmla="*/ 516 h 606"/>
                  <a:gd name="T50" fmla="*/ 540 w 612"/>
                  <a:gd name="T51" fmla="*/ 552 h 606"/>
                  <a:gd name="T52" fmla="*/ 564 w 612"/>
                  <a:gd name="T53" fmla="*/ 576 h 606"/>
                  <a:gd name="T54" fmla="*/ 480 w 612"/>
                  <a:gd name="T55" fmla="*/ 606 h 606"/>
                  <a:gd name="T56" fmla="*/ 444 w 612"/>
                  <a:gd name="T57" fmla="*/ 606 h 606"/>
                  <a:gd name="T58" fmla="*/ 420 w 612"/>
                  <a:gd name="T59" fmla="*/ 600 h 606"/>
                  <a:gd name="T60" fmla="*/ 390 w 612"/>
                  <a:gd name="T61" fmla="*/ 594 h 606"/>
                  <a:gd name="T62" fmla="*/ 384 w 612"/>
                  <a:gd name="T63" fmla="*/ 594 h 606"/>
                  <a:gd name="T64" fmla="*/ 354 w 612"/>
                  <a:gd name="T65" fmla="*/ 594 h 606"/>
                  <a:gd name="T66" fmla="*/ 330 w 612"/>
                  <a:gd name="T67" fmla="*/ 576 h 606"/>
                  <a:gd name="T68" fmla="*/ 108 w 612"/>
                  <a:gd name="T69" fmla="*/ 576 h 606"/>
                  <a:gd name="T70" fmla="*/ 84 w 612"/>
                  <a:gd name="T71" fmla="*/ 558 h 606"/>
                  <a:gd name="T72" fmla="*/ 60 w 612"/>
                  <a:gd name="T73" fmla="*/ 552 h 606"/>
                  <a:gd name="T74" fmla="*/ 36 w 612"/>
                  <a:gd name="T75" fmla="*/ 564 h 606"/>
                  <a:gd name="T76" fmla="*/ 0 w 612"/>
                  <a:gd name="T77" fmla="*/ 570 h 606"/>
                  <a:gd name="T78" fmla="*/ 0 w 612"/>
                  <a:gd name="T79" fmla="*/ 522 h 606"/>
                  <a:gd name="T80" fmla="*/ 6 w 612"/>
                  <a:gd name="T81" fmla="*/ 492 h 606"/>
                  <a:gd name="T82" fmla="*/ 18 w 612"/>
                  <a:gd name="T83" fmla="*/ 456 h 606"/>
                  <a:gd name="T84" fmla="*/ 30 w 612"/>
                  <a:gd name="T85" fmla="*/ 426 h 606"/>
                  <a:gd name="T86" fmla="*/ 30 w 612"/>
                  <a:gd name="T87" fmla="*/ 396 h 606"/>
                  <a:gd name="T88" fmla="*/ 36 w 612"/>
                  <a:gd name="T89" fmla="*/ 384 h 606"/>
                  <a:gd name="T90" fmla="*/ 42 w 612"/>
                  <a:gd name="T91" fmla="*/ 372 h 606"/>
                  <a:gd name="T92" fmla="*/ 66 w 612"/>
                  <a:gd name="T93" fmla="*/ 342 h 606"/>
                  <a:gd name="T94" fmla="*/ 84 w 612"/>
                  <a:gd name="T95" fmla="*/ 330 h 606"/>
                  <a:gd name="T96" fmla="*/ 96 w 612"/>
                  <a:gd name="T97" fmla="*/ 312 h 606"/>
                  <a:gd name="T98" fmla="*/ 102 w 612"/>
                  <a:gd name="T99" fmla="*/ 276 h 606"/>
                  <a:gd name="T100" fmla="*/ 96 w 612"/>
                  <a:gd name="T101" fmla="*/ 240 h 606"/>
                  <a:gd name="T102" fmla="*/ 90 w 612"/>
                  <a:gd name="T103" fmla="*/ 216 h 606"/>
                  <a:gd name="T104" fmla="*/ 72 w 612"/>
                  <a:gd name="T105" fmla="*/ 192 h 606"/>
                  <a:gd name="T106" fmla="*/ 60 w 612"/>
                  <a:gd name="T107" fmla="*/ 156 h 606"/>
                  <a:gd name="T108" fmla="*/ 60 w 612"/>
                  <a:gd name="T109" fmla="*/ 162 h 606"/>
                  <a:gd name="T110" fmla="*/ 84 w 612"/>
                  <a:gd name="T111" fmla="*/ 138 h 606"/>
                  <a:gd name="T112" fmla="*/ 78 w 612"/>
                  <a:gd name="T113" fmla="*/ 120 h 606"/>
                  <a:gd name="T114" fmla="*/ 66 w 612"/>
                  <a:gd name="T115" fmla="*/ 90 h 606"/>
                  <a:gd name="T116" fmla="*/ 54 w 612"/>
                  <a:gd name="T117" fmla="*/ 60 h 606"/>
                  <a:gd name="T118" fmla="*/ 36 w 612"/>
                  <a:gd name="T119" fmla="*/ 30 h 606"/>
                  <a:gd name="T120" fmla="*/ 24 w 612"/>
                  <a:gd name="T121" fmla="*/ 12 h 606"/>
                  <a:gd name="T122" fmla="*/ 54 w 612"/>
                  <a:gd name="T123" fmla="*/ 12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12"/>
                  <a:gd name="T187" fmla="*/ 0 h 606"/>
                  <a:gd name="T188" fmla="*/ 612 w 612"/>
                  <a:gd name="T189" fmla="*/ 606 h 60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9" name="Freeform 4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30 h 66"/>
                  <a:gd name="T2" fmla="*/ 6 w 54"/>
                  <a:gd name="T3" fmla="*/ 24 h 66"/>
                  <a:gd name="T4" fmla="*/ 12 w 54"/>
                  <a:gd name="T5" fmla="*/ 18 h 66"/>
                  <a:gd name="T6" fmla="*/ 18 w 54"/>
                  <a:gd name="T7" fmla="*/ 18 h 66"/>
                  <a:gd name="T8" fmla="*/ 18 w 54"/>
                  <a:gd name="T9" fmla="*/ 12 h 66"/>
                  <a:gd name="T10" fmla="*/ 24 w 54"/>
                  <a:gd name="T11" fmla="*/ 12 h 66"/>
                  <a:gd name="T12" fmla="*/ 30 w 54"/>
                  <a:gd name="T13" fmla="*/ 6 h 66"/>
                  <a:gd name="T14" fmla="*/ 36 w 54"/>
                  <a:gd name="T15" fmla="*/ 6 h 66"/>
                  <a:gd name="T16" fmla="*/ 36 w 54"/>
                  <a:gd name="T17" fmla="*/ 0 h 66"/>
                  <a:gd name="T18" fmla="*/ 42 w 54"/>
                  <a:gd name="T19" fmla="*/ 0 h 66"/>
                  <a:gd name="T20" fmla="*/ 42 w 54"/>
                  <a:gd name="T21" fmla="*/ 6 h 66"/>
                  <a:gd name="T22" fmla="*/ 48 w 54"/>
                  <a:gd name="T23" fmla="*/ 6 h 66"/>
                  <a:gd name="T24" fmla="*/ 48 w 54"/>
                  <a:gd name="T25" fmla="*/ 12 h 66"/>
                  <a:gd name="T26" fmla="*/ 54 w 54"/>
                  <a:gd name="T27" fmla="*/ 12 h 66"/>
                  <a:gd name="T28" fmla="*/ 48 w 54"/>
                  <a:gd name="T29" fmla="*/ 12 h 66"/>
                  <a:gd name="T30" fmla="*/ 48 w 54"/>
                  <a:gd name="T31" fmla="*/ 18 h 66"/>
                  <a:gd name="T32" fmla="*/ 42 w 54"/>
                  <a:gd name="T33" fmla="*/ 18 h 66"/>
                  <a:gd name="T34" fmla="*/ 42 w 54"/>
                  <a:gd name="T35" fmla="*/ 24 h 66"/>
                  <a:gd name="T36" fmla="*/ 36 w 54"/>
                  <a:gd name="T37" fmla="*/ 24 h 66"/>
                  <a:gd name="T38" fmla="*/ 36 w 54"/>
                  <a:gd name="T39" fmla="*/ 30 h 66"/>
                  <a:gd name="T40" fmla="*/ 36 w 54"/>
                  <a:gd name="T41" fmla="*/ 24 h 66"/>
                  <a:gd name="T42" fmla="*/ 36 w 54"/>
                  <a:gd name="T43" fmla="*/ 30 h 66"/>
                  <a:gd name="T44" fmla="*/ 30 w 54"/>
                  <a:gd name="T45" fmla="*/ 30 h 66"/>
                  <a:gd name="T46" fmla="*/ 24 w 54"/>
                  <a:gd name="T47" fmla="*/ 30 h 66"/>
                  <a:gd name="T48" fmla="*/ 24 w 54"/>
                  <a:gd name="T49" fmla="*/ 36 h 66"/>
                  <a:gd name="T50" fmla="*/ 24 w 54"/>
                  <a:gd name="T51" fmla="*/ 42 h 66"/>
                  <a:gd name="T52" fmla="*/ 24 w 54"/>
                  <a:gd name="T53" fmla="*/ 66 h 66"/>
                  <a:gd name="T54" fmla="*/ 12 w 54"/>
                  <a:gd name="T55" fmla="*/ 66 h 66"/>
                  <a:gd name="T56" fmla="*/ 6 w 54"/>
                  <a:gd name="T57" fmla="*/ 66 h 66"/>
                  <a:gd name="T58" fmla="*/ 6 w 54"/>
                  <a:gd name="T59" fmla="*/ 60 h 66"/>
                  <a:gd name="T60" fmla="*/ 6 w 54"/>
                  <a:gd name="T61" fmla="*/ 54 h 66"/>
                  <a:gd name="T62" fmla="*/ 12 w 54"/>
                  <a:gd name="T63" fmla="*/ 54 h 66"/>
                  <a:gd name="T64" fmla="*/ 12 w 54"/>
                  <a:gd name="T65" fmla="*/ 48 h 66"/>
                  <a:gd name="T66" fmla="*/ 6 w 54"/>
                  <a:gd name="T67" fmla="*/ 48 h 66"/>
                  <a:gd name="T68" fmla="*/ 6 w 54"/>
                  <a:gd name="T69" fmla="*/ 42 h 66"/>
                  <a:gd name="T70" fmla="*/ 6 w 54"/>
                  <a:gd name="T71" fmla="*/ 36 h 66"/>
                  <a:gd name="T72" fmla="*/ 0 w 54"/>
                  <a:gd name="T73" fmla="*/ 30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4"/>
                  <a:gd name="T112" fmla="*/ 0 h 66"/>
                  <a:gd name="T113" fmla="*/ 54 w 54"/>
                  <a:gd name="T114" fmla="*/ 66 h 6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0" name="Freeform 44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2988" y="2713"/>
              <a:ext cx="495" cy="413"/>
            </a:xfrm>
            <a:custGeom>
              <a:avLst/>
              <a:gdLst>
                <a:gd name="T0" fmla="*/ 120 w 582"/>
                <a:gd name="T1" fmla="*/ 144 h 486"/>
                <a:gd name="T2" fmla="*/ 126 w 582"/>
                <a:gd name="T3" fmla="*/ 156 h 486"/>
                <a:gd name="T4" fmla="*/ 162 w 582"/>
                <a:gd name="T5" fmla="*/ 144 h 486"/>
                <a:gd name="T6" fmla="*/ 174 w 582"/>
                <a:gd name="T7" fmla="*/ 174 h 486"/>
                <a:gd name="T8" fmla="*/ 210 w 582"/>
                <a:gd name="T9" fmla="*/ 180 h 486"/>
                <a:gd name="T10" fmla="*/ 234 w 582"/>
                <a:gd name="T11" fmla="*/ 186 h 486"/>
                <a:gd name="T12" fmla="*/ 258 w 582"/>
                <a:gd name="T13" fmla="*/ 162 h 486"/>
                <a:gd name="T14" fmla="*/ 270 w 582"/>
                <a:gd name="T15" fmla="*/ 192 h 486"/>
                <a:gd name="T16" fmla="*/ 300 w 582"/>
                <a:gd name="T17" fmla="*/ 210 h 486"/>
                <a:gd name="T18" fmla="*/ 318 w 582"/>
                <a:gd name="T19" fmla="*/ 222 h 486"/>
                <a:gd name="T20" fmla="*/ 342 w 582"/>
                <a:gd name="T21" fmla="*/ 246 h 486"/>
                <a:gd name="T22" fmla="*/ 360 w 582"/>
                <a:gd name="T23" fmla="*/ 258 h 486"/>
                <a:gd name="T24" fmla="*/ 384 w 582"/>
                <a:gd name="T25" fmla="*/ 258 h 486"/>
                <a:gd name="T26" fmla="*/ 366 w 582"/>
                <a:gd name="T27" fmla="*/ 204 h 486"/>
                <a:gd name="T28" fmla="*/ 336 w 582"/>
                <a:gd name="T29" fmla="*/ 192 h 486"/>
                <a:gd name="T30" fmla="*/ 318 w 582"/>
                <a:gd name="T31" fmla="*/ 174 h 486"/>
                <a:gd name="T32" fmla="*/ 318 w 582"/>
                <a:gd name="T33" fmla="*/ 144 h 486"/>
                <a:gd name="T34" fmla="*/ 330 w 582"/>
                <a:gd name="T35" fmla="*/ 114 h 486"/>
                <a:gd name="T36" fmla="*/ 330 w 582"/>
                <a:gd name="T37" fmla="*/ 84 h 486"/>
                <a:gd name="T38" fmla="*/ 324 w 582"/>
                <a:gd name="T39" fmla="*/ 66 h 486"/>
                <a:gd name="T40" fmla="*/ 318 w 582"/>
                <a:gd name="T41" fmla="*/ 48 h 486"/>
                <a:gd name="T42" fmla="*/ 342 w 582"/>
                <a:gd name="T43" fmla="*/ 12 h 486"/>
                <a:gd name="T44" fmla="*/ 432 w 582"/>
                <a:gd name="T45" fmla="*/ 0 h 486"/>
                <a:gd name="T46" fmla="*/ 468 w 582"/>
                <a:gd name="T47" fmla="*/ 18 h 486"/>
                <a:gd name="T48" fmla="*/ 492 w 582"/>
                <a:gd name="T49" fmla="*/ 36 h 486"/>
                <a:gd name="T50" fmla="*/ 522 w 582"/>
                <a:gd name="T51" fmla="*/ 48 h 486"/>
                <a:gd name="T52" fmla="*/ 546 w 582"/>
                <a:gd name="T53" fmla="*/ 66 h 486"/>
                <a:gd name="T54" fmla="*/ 564 w 582"/>
                <a:gd name="T55" fmla="*/ 78 h 486"/>
                <a:gd name="T56" fmla="*/ 576 w 582"/>
                <a:gd name="T57" fmla="*/ 114 h 486"/>
                <a:gd name="T58" fmla="*/ 558 w 582"/>
                <a:gd name="T59" fmla="*/ 132 h 486"/>
                <a:gd name="T60" fmla="*/ 558 w 582"/>
                <a:gd name="T61" fmla="*/ 162 h 486"/>
                <a:gd name="T62" fmla="*/ 558 w 582"/>
                <a:gd name="T63" fmla="*/ 186 h 486"/>
                <a:gd name="T64" fmla="*/ 564 w 582"/>
                <a:gd name="T65" fmla="*/ 210 h 486"/>
                <a:gd name="T66" fmla="*/ 540 w 582"/>
                <a:gd name="T67" fmla="*/ 228 h 486"/>
                <a:gd name="T68" fmla="*/ 540 w 582"/>
                <a:gd name="T69" fmla="*/ 258 h 486"/>
                <a:gd name="T70" fmla="*/ 540 w 582"/>
                <a:gd name="T71" fmla="*/ 270 h 486"/>
                <a:gd name="T72" fmla="*/ 546 w 582"/>
                <a:gd name="T73" fmla="*/ 282 h 486"/>
                <a:gd name="T74" fmla="*/ 492 w 582"/>
                <a:gd name="T75" fmla="*/ 306 h 486"/>
                <a:gd name="T76" fmla="*/ 426 w 582"/>
                <a:gd name="T77" fmla="*/ 324 h 486"/>
                <a:gd name="T78" fmla="*/ 414 w 582"/>
                <a:gd name="T79" fmla="*/ 354 h 486"/>
                <a:gd name="T80" fmla="*/ 384 w 582"/>
                <a:gd name="T81" fmla="*/ 366 h 486"/>
                <a:gd name="T82" fmla="*/ 348 w 582"/>
                <a:gd name="T83" fmla="*/ 378 h 486"/>
                <a:gd name="T84" fmla="*/ 336 w 582"/>
                <a:gd name="T85" fmla="*/ 390 h 486"/>
                <a:gd name="T86" fmla="*/ 330 w 582"/>
                <a:gd name="T87" fmla="*/ 414 h 486"/>
                <a:gd name="T88" fmla="*/ 264 w 582"/>
                <a:gd name="T89" fmla="*/ 462 h 486"/>
                <a:gd name="T90" fmla="*/ 240 w 582"/>
                <a:gd name="T91" fmla="*/ 480 h 486"/>
                <a:gd name="T92" fmla="*/ 210 w 582"/>
                <a:gd name="T93" fmla="*/ 480 h 486"/>
                <a:gd name="T94" fmla="*/ 186 w 582"/>
                <a:gd name="T95" fmla="*/ 474 h 486"/>
                <a:gd name="T96" fmla="*/ 156 w 582"/>
                <a:gd name="T97" fmla="*/ 474 h 486"/>
                <a:gd name="T98" fmla="*/ 132 w 582"/>
                <a:gd name="T99" fmla="*/ 456 h 486"/>
                <a:gd name="T100" fmla="*/ 72 w 582"/>
                <a:gd name="T101" fmla="*/ 468 h 486"/>
                <a:gd name="T102" fmla="*/ 48 w 582"/>
                <a:gd name="T103" fmla="*/ 450 h 486"/>
                <a:gd name="T104" fmla="*/ 18 w 582"/>
                <a:gd name="T105" fmla="*/ 420 h 486"/>
                <a:gd name="T106" fmla="*/ 102 w 582"/>
                <a:gd name="T107" fmla="*/ 234 h 486"/>
                <a:gd name="T108" fmla="*/ 102 w 582"/>
                <a:gd name="T109" fmla="*/ 198 h 486"/>
                <a:gd name="T110" fmla="*/ 96 w 582"/>
                <a:gd name="T111" fmla="*/ 168 h 486"/>
                <a:gd name="T112" fmla="*/ 96 w 582"/>
                <a:gd name="T113" fmla="*/ 138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82"/>
                <a:gd name="T172" fmla="*/ 0 h 486"/>
                <a:gd name="T173" fmla="*/ 582 w 582"/>
                <a:gd name="T174" fmla="*/ 486 h 4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4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3126" y="3024"/>
              <a:ext cx="326" cy="285"/>
            </a:xfrm>
            <a:custGeom>
              <a:avLst/>
              <a:gdLst>
                <a:gd name="T0" fmla="*/ 12 w 384"/>
                <a:gd name="T1" fmla="*/ 114 h 336"/>
                <a:gd name="T2" fmla="*/ 24 w 384"/>
                <a:gd name="T3" fmla="*/ 114 h 336"/>
                <a:gd name="T4" fmla="*/ 36 w 384"/>
                <a:gd name="T5" fmla="*/ 114 h 336"/>
                <a:gd name="T6" fmla="*/ 60 w 384"/>
                <a:gd name="T7" fmla="*/ 114 h 336"/>
                <a:gd name="T8" fmla="*/ 78 w 384"/>
                <a:gd name="T9" fmla="*/ 120 h 336"/>
                <a:gd name="T10" fmla="*/ 84 w 384"/>
                <a:gd name="T11" fmla="*/ 114 h 336"/>
                <a:gd name="T12" fmla="*/ 102 w 384"/>
                <a:gd name="T13" fmla="*/ 96 h 336"/>
                <a:gd name="T14" fmla="*/ 126 w 384"/>
                <a:gd name="T15" fmla="*/ 66 h 336"/>
                <a:gd name="T16" fmla="*/ 174 w 384"/>
                <a:gd name="T17" fmla="*/ 48 h 336"/>
                <a:gd name="T18" fmla="*/ 180 w 384"/>
                <a:gd name="T19" fmla="*/ 30 h 336"/>
                <a:gd name="T20" fmla="*/ 174 w 384"/>
                <a:gd name="T21" fmla="*/ 24 h 336"/>
                <a:gd name="T22" fmla="*/ 186 w 384"/>
                <a:gd name="T23" fmla="*/ 18 h 336"/>
                <a:gd name="T24" fmla="*/ 204 w 384"/>
                <a:gd name="T25" fmla="*/ 6 h 336"/>
                <a:gd name="T26" fmla="*/ 222 w 384"/>
                <a:gd name="T27" fmla="*/ 0 h 336"/>
                <a:gd name="T28" fmla="*/ 246 w 384"/>
                <a:gd name="T29" fmla="*/ 0 h 336"/>
                <a:gd name="T30" fmla="*/ 282 w 384"/>
                <a:gd name="T31" fmla="*/ 24 h 336"/>
                <a:gd name="T32" fmla="*/ 300 w 384"/>
                <a:gd name="T33" fmla="*/ 18 h 336"/>
                <a:gd name="T34" fmla="*/ 318 w 384"/>
                <a:gd name="T35" fmla="*/ 30 h 336"/>
                <a:gd name="T36" fmla="*/ 336 w 384"/>
                <a:gd name="T37" fmla="*/ 42 h 336"/>
                <a:gd name="T38" fmla="*/ 366 w 384"/>
                <a:gd name="T39" fmla="*/ 48 h 336"/>
                <a:gd name="T40" fmla="*/ 384 w 384"/>
                <a:gd name="T41" fmla="*/ 54 h 336"/>
                <a:gd name="T42" fmla="*/ 378 w 384"/>
                <a:gd name="T43" fmla="*/ 66 h 336"/>
                <a:gd name="T44" fmla="*/ 384 w 384"/>
                <a:gd name="T45" fmla="*/ 90 h 336"/>
                <a:gd name="T46" fmla="*/ 384 w 384"/>
                <a:gd name="T47" fmla="*/ 102 h 336"/>
                <a:gd name="T48" fmla="*/ 384 w 384"/>
                <a:gd name="T49" fmla="*/ 114 h 336"/>
                <a:gd name="T50" fmla="*/ 384 w 384"/>
                <a:gd name="T51" fmla="*/ 126 h 336"/>
                <a:gd name="T52" fmla="*/ 378 w 384"/>
                <a:gd name="T53" fmla="*/ 144 h 336"/>
                <a:gd name="T54" fmla="*/ 366 w 384"/>
                <a:gd name="T55" fmla="*/ 156 h 336"/>
                <a:gd name="T56" fmla="*/ 366 w 384"/>
                <a:gd name="T57" fmla="*/ 168 h 336"/>
                <a:gd name="T58" fmla="*/ 378 w 384"/>
                <a:gd name="T59" fmla="*/ 180 h 336"/>
                <a:gd name="T60" fmla="*/ 372 w 384"/>
                <a:gd name="T61" fmla="*/ 192 h 336"/>
                <a:gd name="T62" fmla="*/ 378 w 384"/>
                <a:gd name="T63" fmla="*/ 204 h 336"/>
                <a:gd name="T64" fmla="*/ 378 w 384"/>
                <a:gd name="T65" fmla="*/ 204 h 336"/>
                <a:gd name="T66" fmla="*/ 378 w 384"/>
                <a:gd name="T67" fmla="*/ 222 h 336"/>
                <a:gd name="T68" fmla="*/ 378 w 384"/>
                <a:gd name="T69" fmla="*/ 234 h 336"/>
                <a:gd name="T70" fmla="*/ 360 w 384"/>
                <a:gd name="T71" fmla="*/ 246 h 336"/>
                <a:gd name="T72" fmla="*/ 354 w 384"/>
                <a:gd name="T73" fmla="*/ 270 h 336"/>
                <a:gd name="T74" fmla="*/ 354 w 384"/>
                <a:gd name="T75" fmla="*/ 282 h 336"/>
                <a:gd name="T76" fmla="*/ 300 w 384"/>
                <a:gd name="T77" fmla="*/ 336 h 336"/>
                <a:gd name="T78" fmla="*/ 288 w 384"/>
                <a:gd name="T79" fmla="*/ 336 h 336"/>
                <a:gd name="T80" fmla="*/ 264 w 384"/>
                <a:gd name="T81" fmla="*/ 330 h 336"/>
                <a:gd name="T82" fmla="*/ 246 w 384"/>
                <a:gd name="T83" fmla="*/ 330 h 336"/>
                <a:gd name="T84" fmla="*/ 222 w 384"/>
                <a:gd name="T85" fmla="*/ 324 h 336"/>
                <a:gd name="T86" fmla="*/ 198 w 384"/>
                <a:gd name="T87" fmla="*/ 324 h 336"/>
                <a:gd name="T88" fmla="*/ 186 w 384"/>
                <a:gd name="T89" fmla="*/ 312 h 336"/>
                <a:gd name="T90" fmla="*/ 174 w 384"/>
                <a:gd name="T91" fmla="*/ 300 h 336"/>
                <a:gd name="T92" fmla="*/ 150 w 384"/>
                <a:gd name="T93" fmla="*/ 294 h 336"/>
                <a:gd name="T94" fmla="*/ 138 w 384"/>
                <a:gd name="T95" fmla="*/ 294 h 336"/>
                <a:gd name="T96" fmla="*/ 126 w 384"/>
                <a:gd name="T97" fmla="*/ 282 h 336"/>
                <a:gd name="T98" fmla="*/ 120 w 384"/>
                <a:gd name="T99" fmla="*/ 264 h 336"/>
                <a:gd name="T100" fmla="*/ 120 w 384"/>
                <a:gd name="T101" fmla="*/ 240 h 336"/>
                <a:gd name="T102" fmla="*/ 96 w 384"/>
                <a:gd name="T103" fmla="*/ 240 h 336"/>
                <a:gd name="T104" fmla="*/ 96 w 384"/>
                <a:gd name="T105" fmla="*/ 222 h 336"/>
                <a:gd name="T106" fmla="*/ 78 w 384"/>
                <a:gd name="T107" fmla="*/ 216 h 336"/>
                <a:gd name="T108" fmla="*/ 60 w 384"/>
                <a:gd name="T109" fmla="*/ 204 h 336"/>
                <a:gd name="T110" fmla="*/ 42 w 384"/>
                <a:gd name="T111" fmla="*/ 198 h 336"/>
                <a:gd name="T112" fmla="*/ 36 w 384"/>
                <a:gd name="T113" fmla="*/ 174 h 336"/>
                <a:gd name="T114" fmla="*/ 24 w 384"/>
                <a:gd name="T115" fmla="*/ 156 h 336"/>
                <a:gd name="T116" fmla="*/ 12 w 384"/>
                <a:gd name="T117" fmla="*/ 138 h 336"/>
                <a:gd name="T118" fmla="*/ 6 w 384"/>
                <a:gd name="T119" fmla="*/ 120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84"/>
                <a:gd name="T181" fmla="*/ 0 h 336"/>
                <a:gd name="T182" fmla="*/ 384 w 384"/>
                <a:gd name="T183" fmla="*/ 336 h 3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46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2901" y="3115"/>
              <a:ext cx="398" cy="383"/>
            </a:xfrm>
            <a:custGeom>
              <a:avLst/>
              <a:gdLst>
                <a:gd name="T0" fmla="*/ 270 w 468"/>
                <a:gd name="T1" fmla="*/ 18 h 450"/>
                <a:gd name="T2" fmla="*/ 282 w 468"/>
                <a:gd name="T3" fmla="*/ 42 h 450"/>
                <a:gd name="T4" fmla="*/ 300 w 468"/>
                <a:gd name="T5" fmla="*/ 60 h 450"/>
                <a:gd name="T6" fmla="*/ 306 w 468"/>
                <a:gd name="T7" fmla="*/ 90 h 450"/>
                <a:gd name="T8" fmla="*/ 330 w 468"/>
                <a:gd name="T9" fmla="*/ 102 h 450"/>
                <a:gd name="T10" fmla="*/ 354 w 468"/>
                <a:gd name="T11" fmla="*/ 108 h 450"/>
                <a:gd name="T12" fmla="*/ 366 w 468"/>
                <a:gd name="T13" fmla="*/ 132 h 450"/>
                <a:gd name="T14" fmla="*/ 384 w 468"/>
                <a:gd name="T15" fmla="*/ 132 h 450"/>
                <a:gd name="T16" fmla="*/ 384 w 468"/>
                <a:gd name="T17" fmla="*/ 162 h 450"/>
                <a:gd name="T18" fmla="*/ 396 w 468"/>
                <a:gd name="T19" fmla="*/ 180 h 450"/>
                <a:gd name="T20" fmla="*/ 414 w 468"/>
                <a:gd name="T21" fmla="*/ 192 h 450"/>
                <a:gd name="T22" fmla="*/ 438 w 468"/>
                <a:gd name="T23" fmla="*/ 192 h 450"/>
                <a:gd name="T24" fmla="*/ 450 w 468"/>
                <a:gd name="T25" fmla="*/ 210 h 450"/>
                <a:gd name="T26" fmla="*/ 462 w 468"/>
                <a:gd name="T27" fmla="*/ 216 h 450"/>
                <a:gd name="T28" fmla="*/ 444 w 468"/>
                <a:gd name="T29" fmla="*/ 228 h 450"/>
                <a:gd name="T30" fmla="*/ 426 w 468"/>
                <a:gd name="T31" fmla="*/ 234 h 450"/>
                <a:gd name="T32" fmla="*/ 408 w 468"/>
                <a:gd name="T33" fmla="*/ 240 h 450"/>
                <a:gd name="T34" fmla="*/ 396 w 468"/>
                <a:gd name="T35" fmla="*/ 264 h 450"/>
                <a:gd name="T36" fmla="*/ 378 w 468"/>
                <a:gd name="T37" fmla="*/ 270 h 450"/>
                <a:gd name="T38" fmla="*/ 366 w 468"/>
                <a:gd name="T39" fmla="*/ 276 h 450"/>
                <a:gd name="T40" fmla="*/ 366 w 468"/>
                <a:gd name="T41" fmla="*/ 282 h 450"/>
                <a:gd name="T42" fmla="*/ 348 w 468"/>
                <a:gd name="T43" fmla="*/ 294 h 450"/>
                <a:gd name="T44" fmla="*/ 342 w 468"/>
                <a:gd name="T45" fmla="*/ 306 h 450"/>
                <a:gd name="T46" fmla="*/ 330 w 468"/>
                <a:gd name="T47" fmla="*/ 324 h 450"/>
                <a:gd name="T48" fmla="*/ 324 w 468"/>
                <a:gd name="T49" fmla="*/ 336 h 450"/>
                <a:gd name="T50" fmla="*/ 294 w 468"/>
                <a:gd name="T51" fmla="*/ 342 h 450"/>
                <a:gd name="T52" fmla="*/ 282 w 468"/>
                <a:gd name="T53" fmla="*/ 378 h 450"/>
                <a:gd name="T54" fmla="*/ 264 w 468"/>
                <a:gd name="T55" fmla="*/ 396 h 450"/>
                <a:gd name="T56" fmla="*/ 234 w 468"/>
                <a:gd name="T57" fmla="*/ 396 h 450"/>
                <a:gd name="T58" fmla="*/ 216 w 468"/>
                <a:gd name="T59" fmla="*/ 396 h 450"/>
                <a:gd name="T60" fmla="*/ 192 w 468"/>
                <a:gd name="T61" fmla="*/ 384 h 450"/>
                <a:gd name="T62" fmla="*/ 168 w 468"/>
                <a:gd name="T63" fmla="*/ 372 h 450"/>
                <a:gd name="T64" fmla="*/ 150 w 468"/>
                <a:gd name="T65" fmla="*/ 372 h 450"/>
                <a:gd name="T66" fmla="*/ 138 w 468"/>
                <a:gd name="T67" fmla="*/ 390 h 450"/>
                <a:gd name="T68" fmla="*/ 132 w 468"/>
                <a:gd name="T69" fmla="*/ 408 h 450"/>
                <a:gd name="T70" fmla="*/ 114 w 468"/>
                <a:gd name="T71" fmla="*/ 426 h 450"/>
                <a:gd name="T72" fmla="*/ 96 w 468"/>
                <a:gd name="T73" fmla="*/ 438 h 450"/>
                <a:gd name="T74" fmla="*/ 78 w 468"/>
                <a:gd name="T75" fmla="*/ 450 h 450"/>
                <a:gd name="T76" fmla="*/ 48 w 468"/>
                <a:gd name="T77" fmla="*/ 450 h 450"/>
                <a:gd name="T78" fmla="*/ 30 w 468"/>
                <a:gd name="T79" fmla="*/ 438 h 450"/>
                <a:gd name="T80" fmla="*/ 42 w 468"/>
                <a:gd name="T81" fmla="*/ 420 h 450"/>
                <a:gd name="T82" fmla="*/ 36 w 468"/>
                <a:gd name="T83" fmla="*/ 396 h 450"/>
                <a:gd name="T84" fmla="*/ 30 w 468"/>
                <a:gd name="T85" fmla="*/ 378 h 450"/>
                <a:gd name="T86" fmla="*/ 24 w 468"/>
                <a:gd name="T87" fmla="*/ 366 h 450"/>
                <a:gd name="T88" fmla="*/ 6 w 468"/>
                <a:gd name="T89" fmla="*/ 354 h 450"/>
                <a:gd name="T90" fmla="*/ 48 w 468"/>
                <a:gd name="T91" fmla="*/ 156 h 450"/>
                <a:gd name="T92" fmla="*/ 168 w 468"/>
                <a:gd name="T93" fmla="*/ 12 h 450"/>
                <a:gd name="T94" fmla="*/ 180 w 468"/>
                <a:gd name="T95" fmla="*/ 30 h 450"/>
                <a:gd name="T96" fmla="*/ 198 w 468"/>
                <a:gd name="T97" fmla="*/ 24 h 450"/>
                <a:gd name="T98" fmla="*/ 216 w 468"/>
                <a:gd name="T99" fmla="*/ 12 h 450"/>
                <a:gd name="T100" fmla="*/ 234 w 468"/>
                <a:gd name="T101" fmla="*/ 6 h 450"/>
                <a:gd name="T102" fmla="*/ 258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68"/>
                <a:gd name="T157" fmla="*/ 0 h 450"/>
                <a:gd name="T158" fmla="*/ 468 w 468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47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2753" y="3299"/>
              <a:ext cx="694" cy="535"/>
            </a:xfrm>
            <a:custGeom>
              <a:avLst/>
              <a:gdLst>
                <a:gd name="T0" fmla="*/ 18 w 816"/>
                <a:gd name="T1" fmla="*/ 300 h 630"/>
                <a:gd name="T2" fmla="*/ 42 w 816"/>
                <a:gd name="T3" fmla="*/ 312 h 630"/>
                <a:gd name="T4" fmla="*/ 78 w 816"/>
                <a:gd name="T5" fmla="*/ 336 h 630"/>
                <a:gd name="T6" fmla="*/ 132 w 816"/>
                <a:gd name="T7" fmla="*/ 336 h 630"/>
                <a:gd name="T8" fmla="*/ 162 w 816"/>
                <a:gd name="T9" fmla="*/ 318 h 630"/>
                <a:gd name="T10" fmla="*/ 198 w 816"/>
                <a:gd name="T11" fmla="*/ 144 h 630"/>
                <a:gd name="T12" fmla="*/ 210 w 816"/>
                <a:gd name="T13" fmla="*/ 174 h 630"/>
                <a:gd name="T14" fmla="*/ 204 w 816"/>
                <a:gd name="T15" fmla="*/ 216 h 630"/>
                <a:gd name="T16" fmla="*/ 246 w 816"/>
                <a:gd name="T17" fmla="*/ 234 h 630"/>
                <a:gd name="T18" fmla="*/ 282 w 816"/>
                <a:gd name="T19" fmla="*/ 210 h 630"/>
                <a:gd name="T20" fmla="*/ 318 w 816"/>
                <a:gd name="T21" fmla="*/ 174 h 630"/>
                <a:gd name="T22" fmla="*/ 336 w 816"/>
                <a:gd name="T23" fmla="*/ 156 h 630"/>
                <a:gd name="T24" fmla="*/ 390 w 816"/>
                <a:gd name="T25" fmla="*/ 174 h 630"/>
                <a:gd name="T26" fmla="*/ 432 w 816"/>
                <a:gd name="T27" fmla="*/ 180 h 630"/>
                <a:gd name="T28" fmla="*/ 468 w 816"/>
                <a:gd name="T29" fmla="*/ 132 h 630"/>
                <a:gd name="T30" fmla="*/ 504 w 816"/>
                <a:gd name="T31" fmla="*/ 114 h 630"/>
                <a:gd name="T32" fmla="*/ 522 w 816"/>
                <a:gd name="T33" fmla="*/ 72 h 630"/>
                <a:gd name="T34" fmla="*/ 546 w 816"/>
                <a:gd name="T35" fmla="*/ 60 h 630"/>
                <a:gd name="T36" fmla="*/ 564 w 816"/>
                <a:gd name="T37" fmla="*/ 48 h 630"/>
                <a:gd name="T38" fmla="*/ 600 w 816"/>
                <a:gd name="T39" fmla="*/ 24 h 630"/>
                <a:gd name="T40" fmla="*/ 630 w 816"/>
                <a:gd name="T41" fmla="*/ 0 h 630"/>
                <a:gd name="T42" fmla="*/ 684 w 816"/>
                <a:gd name="T43" fmla="*/ 12 h 630"/>
                <a:gd name="T44" fmla="*/ 732 w 816"/>
                <a:gd name="T45" fmla="*/ 12 h 630"/>
                <a:gd name="T46" fmla="*/ 768 w 816"/>
                <a:gd name="T47" fmla="*/ 102 h 630"/>
                <a:gd name="T48" fmla="*/ 768 w 816"/>
                <a:gd name="T49" fmla="*/ 168 h 630"/>
                <a:gd name="T50" fmla="*/ 744 w 816"/>
                <a:gd name="T51" fmla="*/ 180 h 630"/>
                <a:gd name="T52" fmla="*/ 714 w 816"/>
                <a:gd name="T53" fmla="*/ 228 h 630"/>
                <a:gd name="T54" fmla="*/ 750 w 816"/>
                <a:gd name="T55" fmla="*/ 258 h 630"/>
                <a:gd name="T56" fmla="*/ 816 w 816"/>
                <a:gd name="T57" fmla="*/ 240 h 630"/>
                <a:gd name="T58" fmla="*/ 798 w 816"/>
                <a:gd name="T59" fmla="*/ 300 h 630"/>
                <a:gd name="T60" fmla="*/ 762 w 816"/>
                <a:gd name="T61" fmla="*/ 336 h 630"/>
                <a:gd name="T62" fmla="*/ 720 w 816"/>
                <a:gd name="T63" fmla="*/ 378 h 630"/>
                <a:gd name="T64" fmla="*/ 702 w 816"/>
                <a:gd name="T65" fmla="*/ 414 h 630"/>
                <a:gd name="T66" fmla="*/ 672 w 816"/>
                <a:gd name="T67" fmla="*/ 456 h 630"/>
                <a:gd name="T68" fmla="*/ 636 w 816"/>
                <a:gd name="T69" fmla="*/ 486 h 630"/>
                <a:gd name="T70" fmla="*/ 612 w 816"/>
                <a:gd name="T71" fmla="*/ 510 h 630"/>
                <a:gd name="T72" fmla="*/ 582 w 816"/>
                <a:gd name="T73" fmla="*/ 528 h 630"/>
                <a:gd name="T74" fmla="*/ 540 w 816"/>
                <a:gd name="T75" fmla="*/ 558 h 630"/>
                <a:gd name="T76" fmla="*/ 504 w 816"/>
                <a:gd name="T77" fmla="*/ 570 h 630"/>
                <a:gd name="T78" fmla="*/ 456 w 816"/>
                <a:gd name="T79" fmla="*/ 582 h 630"/>
                <a:gd name="T80" fmla="*/ 420 w 816"/>
                <a:gd name="T81" fmla="*/ 594 h 630"/>
                <a:gd name="T82" fmla="*/ 378 w 816"/>
                <a:gd name="T83" fmla="*/ 588 h 630"/>
                <a:gd name="T84" fmla="*/ 324 w 816"/>
                <a:gd name="T85" fmla="*/ 594 h 630"/>
                <a:gd name="T86" fmla="*/ 312 w 816"/>
                <a:gd name="T87" fmla="*/ 588 h 630"/>
                <a:gd name="T88" fmla="*/ 264 w 816"/>
                <a:gd name="T89" fmla="*/ 606 h 630"/>
                <a:gd name="T90" fmla="*/ 234 w 816"/>
                <a:gd name="T91" fmla="*/ 606 h 630"/>
                <a:gd name="T92" fmla="*/ 198 w 816"/>
                <a:gd name="T93" fmla="*/ 618 h 630"/>
                <a:gd name="T94" fmla="*/ 156 w 816"/>
                <a:gd name="T95" fmla="*/ 630 h 630"/>
                <a:gd name="T96" fmla="*/ 126 w 816"/>
                <a:gd name="T97" fmla="*/ 606 h 630"/>
                <a:gd name="T98" fmla="*/ 108 w 816"/>
                <a:gd name="T99" fmla="*/ 594 h 630"/>
                <a:gd name="T100" fmla="*/ 96 w 816"/>
                <a:gd name="T101" fmla="*/ 600 h 630"/>
                <a:gd name="T102" fmla="*/ 96 w 816"/>
                <a:gd name="T103" fmla="*/ 582 h 630"/>
                <a:gd name="T104" fmla="*/ 78 w 816"/>
                <a:gd name="T105" fmla="*/ 546 h 630"/>
                <a:gd name="T106" fmla="*/ 66 w 816"/>
                <a:gd name="T107" fmla="*/ 534 h 630"/>
                <a:gd name="T108" fmla="*/ 78 w 816"/>
                <a:gd name="T109" fmla="*/ 528 h 630"/>
                <a:gd name="T110" fmla="*/ 90 w 816"/>
                <a:gd name="T111" fmla="*/ 480 h 630"/>
                <a:gd name="T112" fmla="*/ 60 w 816"/>
                <a:gd name="T113" fmla="*/ 438 h 630"/>
                <a:gd name="T114" fmla="*/ 36 w 816"/>
                <a:gd name="T115" fmla="*/ 396 h 630"/>
                <a:gd name="T116" fmla="*/ 18 w 816"/>
                <a:gd name="T117" fmla="*/ 342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16"/>
                <a:gd name="T178" fmla="*/ 0 h 630"/>
                <a:gd name="T179" fmla="*/ 816 w 816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48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3197" y="3569"/>
              <a:ext cx="107" cy="87"/>
            </a:xfrm>
            <a:custGeom>
              <a:avLst/>
              <a:gdLst>
                <a:gd name="T0" fmla="*/ 108 w 126"/>
                <a:gd name="T1" fmla="*/ 72 h 102"/>
                <a:gd name="T2" fmla="*/ 108 w 126"/>
                <a:gd name="T3" fmla="*/ 60 h 102"/>
                <a:gd name="T4" fmla="*/ 114 w 126"/>
                <a:gd name="T5" fmla="*/ 54 h 102"/>
                <a:gd name="T6" fmla="*/ 120 w 126"/>
                <a:gd name="T7" fmla="*/ 42 h 102"/>
                <a:gd name="T8" fmla="*/ 126 w 126"/>
                <a:gd name="T9" fmla="*/ 36 h 102"/>
                <a:gd name="T10" fmla="*/ 120 w 126"/>
                <a:gd name="T11" fmla="*/ 30 h 102"/>
                <a:gd name="T12" fmla="*/ 108 w 126"/>
                <a:gd name="T13" fmla="*/ 24 h 102"/>
                <a:gd name="T14" fmla="*/ 96 w 126"/>
                <a:gd name="T15" fmla="*/ 18 h 102"/>
                <a:gd name="T16" fmla="*/ 90 w 126"/>
                <a:gd name="T17" fmla="*/ 12 h 102"/>
                <a:gd name="T18" fmla="*/ 84 w 126"/>
                <a:gd name="T19" fmla="*/ 6 h 102"/>
                <a:gd name="T20" fmla="*/ 78 w 126"/>
                <a:gd name="T21" fmla="*/ 0 h 102"/>
                <a:gd name="T22" fmla="*/ 72 w 126"/>
                <a:gd name="T23" fmla="*/ 6 h 102"/>
                <a:gd name="T24" fmla="*/ 72 w 126"/>
                <a:gd name="T25" fmla="*/ 6 h 102"/>
                <a:gd name="T26" fmla="*/ 60 w 126"/>
                <a:gd name="T27" fmla="*/ 6 h 102"/>
                <a:gd name="T28" fmla="*/ 54 w 126"/>
                <a:gd name="T29" fmla="*/ 12 h 102"/>
                <a:gd name="T30" fmla="*/ 48 w 126"/>
                <a:gd name="T31" fmla="*/ 18 h 102"/>
                <a:gd name="T32" fmla="*/ 48 w 126"/>
                <a:gd name="T33" fmla="*/ 18 h 102"/>
                <a:gd name="T34" fmla="*/ 36 w 126"/>
                <a:gd name="T35" fmla="*/ 18 h 102"/>
                <a:gd name="T36" fmla="*/ 36 w 126"/>
                <a:gd name="T37" fmla="*/ 18 h 102"/>
                <a:gd name="T38" fmla="*/ 36 w 126"/>
                <a:gd name="T39" fmla="*/ 30 h 102"/>
                <a:gd name="T40" fmla="*/ 30 w 126"/>
                <a:gd name="T41" fmla="*/ 36 h 102"/>
                <a:gd name="T42" fmla="*/ 24 w 126"/>
                <a:gd name="T43" fmla="*/ 42 h 102"/>
                <a:gd name="T44" fmla="*/ 18 w 126"/>
                <a:gd name="T45" fmla="*/ 48 h 102"/>
                <a:gd name="T46" fmla="*/ 6 w 126"/>
                <a:gd name="T47" fmla="*/ 48 h 102"/>
                <a:gd name="T48" fmla="*/ 0 w 126"/>
                <a:gd name="T49" fmla="*/ 54 h 102"/>
                <a:gd name="T50" fmla="*/ 6 w 126"/>
                <a:gd name="T51" fmla="*/ 60 h 102"/>
                <a:gd name="T52" fmla="*/ 18 w 126"/>
                <a:gd name="T53" fmla="*/ 78 h 102"/>
                <a:gd name="T54" fmla="*/ 18 w 126"/>
                <a:gd name="T55" fmla="*/ 78 h 102"/>
                <a:gd name="T56" fmla="*/ 24 w 126"/>
                <a:gd name="T57" fmla="*/ 84 h 102"/>
                <a:gd name="T58" fmla="*/ 18 w 126"/>
                <a:gd name="T59" fmla="*/ 90 h 102"/>
                <a:gd name="T60" fmla="*/ 30 w 126"/>
                <a:gd name="T61" fmla="*/ 90 h 102"/>
                <a:gd name="T62" fmla="*/ 36 w 126"/>
                <a:gd name="T63" fmla="*/ 96 h 102"/>
                <a:gd name="T64" fmla="*/ 42 w 126"/>
                <a:gd name="T65" fmla="*/ 102 h 102"/>
                <a:gd name="T66" fmla="*/ 54 w 126"/>
                <a:gd name="T67" fmla="*/ 102 h 102"/>
                <a:gd name="T68" fmla="*/ 60 w 126"/>
                <a:gd name="T69" fmla="*/ 96 h 102"/>
                <a:gd name="T70" fmla="*/ 66 w 126"/>
                <a:gd name="T71" fmla="*/ 90 h 102"/>
                <a:gd name="T72" fmla="*/ 66 w 126"/>
                <a:gd name="T73" fmla="*/ 84 h 102"/>
                <a:gd name="T74" fmla="*/ 78 w 126"/>
                <a:gd name="T75" fmla="*/ 78 h 102"/>
                <a:gd name="T76" fmla="*/ 90 w 126"/>
                <a:gd name="T77" fmla="*/ 78 h 102"/>
                <a:gd name="T78" fmla="*/ 96 w 126"/>
                <a:gd name="T79" fmla="*/ 72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6"/>
                <a:gd name="T121" fmla="*/ 0 h 102"/>
                <a:gd name="T122" fmla="*/ 126 w 126"/>
                <a:gd name="T123" fmla="*/ 102 h 10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49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2555" y="3080"/>
              <a:ext cx="571" cy="505"/>
            </a:xfrm>
            <a:custGeom>
              <a:avLst/>
              <a:gdLst>
                <a:gd name="T0" fmla="*/ 12 w 672"/>
                <a:gd name="T1" fmla="*/ 12 h 594"/>
                <a:gd name="T2" fmla="*/ 36 w 672"/>
                <a:gd name="T3" fmla="*/ 18 h 594"/>
                <a:gd name="T4" fmla="*/ 54 w 672"/>
                <a:gd name="T5" fmla="*/ 6 h 594"/>
                <a:gd name="T6" fmla="*/ 84 w 672"/>
                <a:gd name="T7" fmla="*/ 0 h 594"/>
                <a:gd name="T8" fmla="*/ 90 w 672"/>
                <a:gd name="T9" fmla="*/ 12 h 594"/>
                <a:gd name="T10" fmla="*/ 108 w 672"/>
                <a:gd name="T11" fmla="*/ 24 h 594"/>
                <a:gd name="T12" fmla="*/ 258 w 672"/>
                <a:gd name="T13" fmla="*/ 24 h 594"/>
                <a:gd name="T14" fmla="*/ 342 w 672"/>
                <a:gd name="T15" fmla="*/ 30 h 594"/>
                <a:gd name="T16" fmla="*/ 360 w 672"/>
                <a:gd name="T17" fmla="*/ 42 h 594"/>
                <a:gd name="T18" fmla="*/ 384 w 672"/>
                <a:gd name="T19" fmla="*/ 48 h 594"/>
                <a:gd name="T20" fmla="*/ 384 w 672"/>
                <a:gd name="T21" fmla="*/ 42 h 594"/>
                <a:gd name="T22" fmla="*/ 396 w 672"/>
                <a:gd name="T23" fmla="*/ 48 h 594"/>
                <a:gd name="T24" fmla="*/ 420 w 672"/>
                <a:gd name="T25" fmla="*/ 48 h 594"/>
                <a:gd name="T26" fmla="*/ 438 w 672"/>
                <a:gd name="T27" fmla="*/ 48 h 594"/>
                <a:gd name="T28" fmla="*/ 456 w 672"/>
                <a:gd name="T29" fmla="*/ 48 h 594"/>
                <a:gd name="T30" fmla="*/ 552 w 672"/>
                <a:gd name="T31" fmla="*/ 36 h 594"/>
                <a:gd name="T32" fmla="*/ 630 w 672"/>
                <a:gd name="T33" fmla="*/ 30 h 594"/>
                <a:gd name="T34" fmla="*/ 648 w 672"/>
                <a:gd name="T35" fmla="*/ 30 h 594"/>
                <a:gd name="T36" fmla="*/ 666 w 672"/>
                <a:gd name="T37" fmla="*/ 42 h 594"/>
                <a:gd name="T38" fmla="*/ 648 w 672"/>
                <a:gd name="T39" fmla="*/ 42 h 594"/>
                <a:gd name="T40" fmla="*/ 630 w 672"/>
                <a:gd name="T41" fmla="*/ 48 h 594"/>
                <a:gd name="T42" fmla="*/ 612 w 672"/>
                <a:gd name="T43" fmla="*/ 60 h 594"/>
                <a:gd name="T44" fmla="*/ 594 w 672"/>
                <a:gd name="T45" fmla="*/ 72 h 594"/>
                <a:gd name="T46" fmla="*/ 582 w 672"/>
                <a:gd name="T47" fmla="*/ 60 h 594"/>
                <a:gd name="T48" fmla="*/ 480 w 672"/>
                <a:gd name="T49" fmla="*/ 66 h 594"/>
                <a:gd name="T50" fmla="*/ 408 w 672"/>
                <a:gd name="T51" fmla="*/ 390 h 594"/>
                <a:gd name="T52" fmla="*/ 396 w 672"/>
                <a:gd name="T53" fmla="*/ 570 h 594"/>
                <a:gd name="T54" fmla="*/ 378 w 672"/>
                <a:gd name="T55" fmla="*/ 588 h 594"/>
                <a:gd name="T56" fmla="*/ 360 w 672"/>
                <a:gd name="T57" fmla="*/ 594 h 594"/>
                <a:gd name="T58" fmla="*/ 336 w 672"/>
                <a:gd name="T59" fmla="*/ 594 h 594"/>
                <a:gd name="T60" fmla="*/ 312 w 672"/>
                <a:gd name="T61" fmla="*/ 588 h 594"/>
                <a:gd name="T62" fmla="*/ 288 w 672"/>
                <a:gd name="T63" fmla="*/ 582 h 594"/>
                <a:gd name="T64" fmla="*/ 282 w 672"/>
                <a:gd name="T65" fmla="*/ 570 h 594"/>
                <a:gd name="T66" fmla="*/ 270 w 672"/>
                <a:gd name="T67" fmla="*/ 552 h 594"/>
                <a:gd name="T68" fmla="*/ 252 w 672"/>
                <a:gd name="T69" fmla="*/ 564 h 594"/>
                <a:gd name="T70" fmla="*/ 246 w 672"/>
                <a:gd name="T71" fmla="*/ 570 h 594"/>
                <a:gd name="T72" fmla="*/ 228 w 672"/>
                <a:gd name="T73" fmla="*/ 576 h 594"/>
                <a:gd name="T74" fmla="*/ 210 w 672"/>
                <a:gd name="T75" fmla="*/ 558 h 594"/>
                <a:gd name="T76" fmla="*/ 192 w 672"/>
                <a:gd name="T77" fmla="*/ 540 h 594"/>
                <a:gd name="T78" fmla="*/ 174 w 672"/>
                <a:gd name="T79" fmla="*/ 516 h 594"/>
                <a:gd name="T80" fmla="*/ 168 w 672"/>
                <a:gd name="T81" fmla="*/ 492 h 594"/>
                <a:gd name="T82" fmla="*/ 162 w 672"/>
                <a:gd name="T83" fmla="*/ 480 h 594"/>
                <a:gd name="T84" fmla="*/ 168 w 672"/>
                <a:gd name="T85" fmla="*/ 468 h 594"/>
                <a:gd name="T86" fmla="*/ 162 w 672"/>
                <a:gd name="T87" fmla="*/ 456 h 594"/>
                <a:gd name="T88" fmla="*/ 150 w 672"/>
                <a:gd name="T89" fmla="*/ 438 h 594"/>
                <a:gd name="T90" fmla="*/ 150 w 672"/>
                <a:gd name="T91" fmla="*/ 420 h 594"/>
                <a:gd name="T92" fmla="*/ 150 w 672"/>
                <a:gd name="T93" fmla="*/ 402 h 594"/>
                <a:gd name="T94" fmla="*/ 144 w 672"/>
                <a:gd name="T95" fmla="*/ 378 h 594"/>
                <a:gd name="T96" fmla="*/ 132 w 672"/>
                <a:gd name="T97" fmla="*/ 354 h 594"/>
                <a:gd name="T98" fmla="*/ 138 w 672"/>
                <a:gd name="T99" fmla="*/ 330 h 594"/>
                <a:gd name="T100" fmla="*/ 138 w 672"/>
                <a:gd name="T101" fmla="*/ 312 h 594"/>
                <a:gd name="T102" fmla="*/ 138 w 672"/>
                <a:gd name="T103" fmla="*/ 300 h 594"/>
                <a:gd name="T104" fmla="*/ 132 w 672"/>
                <a:gd name="T105" fmla="*/ 270 h 594"/>
                <a:gd name="T106" fmla="*/ 114 w 672"/>
                <a:gd name="T107" fmla="*/ 246 h 594"/>
                <a:gd name="T108" fmla="*/ 102 w 672"/>
                <a:gd name="T109" fmla="*/ 228 h 594"/>
                <a:gd name="T110" fmla="*/ 90 w 672"/>
                <a:gd name="T111" fmla="*/ 204 h 594"/>
                <a:gd name="T112" fmla="*/ 78 w 672"/>
                <a:gd name="T113" fmla="*/ 186 h 594"/>
                <a:gd name="T114" fmla="*/ 66 w 672"/>
                <a:gd name="T115" fmla="*/ 156 h 594"/>
                <a:gd name="T116" fmla="*/ 54 w 672"/>
                <a:gd name="T117" fmla="*/ 132 h 594"/>
                <a:gd name="T118" fmla="*/ 36 w 672"/>
                <a:gd name="T119" fmla="*/ 96 h 594"/>
                <a:gd name="T120" fmla="*/ 12 w 672"/>
                <a:gd name="T121" fmla="*/ 78 h 594"/>
                <a:gd name="T122" fmla="*/ 0 w 672"/>
                <a:gd name="T123" fmla="*/ 48 h 594"/>
                <a:gd name="T124" fmla="*/ 0 w 672"/>
                <a:gd name="T125" fmla="*/ 18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2"/>
                <a:gd name="T190" fmla="*/ 0 h 594"/>
                <a:gd name="T191" fmla="*/ 672 w 672"/>
                <a:gd name="T192" fmla="*/ 594 h 59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50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3360" y="3452"/>
              <a:ext cx="56" cy="66"/>
            </a:xfrm>
            <a:custGeom>
              <a:avLst/>
              <a:gdLst>
                <a:gd name="T0" fmla="*/ 54 w 66"/>
                <a:gd name="T1" fmla="*/ 6 h 78"/>
                <a:gd name="T2" fmla="*/ 60 w 66"/>
                <a:gd name="T3" fmla="*/ 12 h 78"/>
                <a:gd name="T4" fmla="*/ 60 w 66"/>
                <a:gd name="T5" fmla="*/ 18 h 78"/>
                <a:gd name="T6" fmla="*/ 60 w 66"/>
                <a:gd name="T7" fmla="*/ 24 h 78"/>
                <a:gd name="T8" fmla="*/ 60 w 66"/>
                <a:gd name="T9" fmla="*/ 30 h 78"/>
                <a:gd name="T10" fmla="*/ 66 w 66"/>
                <a:gd name="T11" fmla="*/ 36 h 78"/>
                <a:gd name="T12" fmla="*/ 66 w 66"/>
                <a:gd name="T13" fmla="*/ 54 h 78"/>
                <a:gd name="T14" fmla="*/ 60 w 66"/>
                <a:gd name="T15" fmla="*/ 54 h 78"/>
                <a:gd name="T16" fmla="*/ 54 w 66"/>
                <a:gd name="T17" fmla="*/ 60 h 78"/>
                <a:gd name="T18" fmla="*/ 54 w 66"/>
                <a:gd name="T19" fmla="*/ 66 h 78"/>
                <a:gd name="T20" fmla="*/ 54 w 66"/>
                <a:gd name="T21" fmla="*/ 78 h 78"/>
                <a:gd name="T22" fmla="*/ 36 w 66"/>
                <a:gd name="T23" fmla="*/ 78 h 78"/>
                <a:gd name="T24" fmla="*/ 30 w 66"/>
                <a:gd name="T25" fmla="*/ 78 h 78"/>
                <a:gd name="T26" fmla="*/ 24 w 66"/>
                <a:gd name="T27" fmla="*/ 72 h 78"/>
                <a:gd name="T28" fmla="*/ 18 w 66"/>
                <a:gd name="T29" fmla="*/ 72 h 78"/>
                <a:gd name="T30" fmla="*/ 12 w 66"/>
                <a:gd name="T31" fmla="*/ 66 h 78"/>
                <a:gd name="T32" fmla="*/ 6 w 66"/>
                <a:gd name="T33" fmla="*/ 60 h 78"/>
                <a:gd name="T34" fmla="*/ 6 w 66"/>
                <a:gd name="T35" fmla="*/ 54 h 78"/>
                <a:gd name="T36" fmla="*/ 0 w 66"/>
                <a:gd name="T37" fmla="*/ 54 h 78"/>
                <a:gd name="T38" fmla="*/ 0 w 66"/>
                <a:gd name="T39" fmla="*/ 48 h 78"/>
                <a:gd name="T40" fmla="*/ 0 w 66"/>
                <a:gd name="T41" fmla="*/ 54 h 78"/>
                <a:gd name="T42" fmla="*/ 0 w 66"/>
                <a:gd name="T43" fmla="*/ 48 h 78"/>
                <a:gd name="T44" fmla="*/ 0 w 66"/>
                <a:gd name="T45" fmla="*/ 42 h 78"/>
                <a:gd name="T46" fmla="*/ 0 w 66"/>
                <a:gd name="T47" fmla="*/ 36 h 78"/>
                <a:gd name="T48" fmla="*/ 0 w 66"/>
                <a:gd name="T49" fmla="*/ 30 h 78"/>
                <a:gd name="T50" fmla="*/ 0 w 66"/>
                <a:gd name="T51" fmla="*/ 24 h 78"/>
                <a:gd name="T52" fmla="*/ 6 w 66"/>
                <a:gd name="T53" fmla="*/ 24 h 78"/>
                <a:gd name="T54" fmla="*/ 12 w 66"/>
                <a:gd name="T55" fmla="*/ 12 h 78"/>
                <a:gd name="T56" fmla="*/ 12 w 66"/>
                <a:gd name="T57" fmla="*/ 6 h 78"/>
                <a:gd name="T58" fmla="*/ 18 w 66"/>
                <a:gd name="T59" fmla="*/ 0 h 78"/>
                <a:gd name="T60" fmla="*/ 24 w 66"/>
                <a:gd name="T61" fmla="*/ 0 h 78"/>
                <a:gd name="T62" fmla="*/ 30 w 66"/>
                <a:gd name="T63" fmla="*/ 0 h 78"/>
                <a:gd name="T64" fmla="*/ 36 w 66"/>
                <a:gd name="T65" fmla="*/ 0 h 78"/>
                <a:gd name="T66" fmla="*/ 36 w 66"/>
                <a:gd name="T67" fmla="*/ 6 h 78"/>
                <a:gd name="T68" fmla="*/ 48 w 66"/>
                <a:gd name="T69" fmla="*/ 12 h 78"/>
                <a:gd name="T70" fmla="*/ 54 w 66"/>
                <a:gd name="T71" fmla="*/ 12 h 78"/>
                <a:gd name="T72" fmla="*/ 54 w 66"/>
                <a:gd name="T73" fmla="*/ 6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78"/>
                <a:gd name="T113" fmla="*/ 66 w 66"/>
                <a:gd name="T114" fmla="*/ 78 h 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51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3462" y="2845"/>
              <a:ext cx="133" cy="240"/>
            </a:xfrm>
            <a:custGeom>
              <a:avLst/>
              <a:gdLst>
                <a:gd name="T0" fmla="*/ 0 w 156"/>
                <a:gd name="T1" fmla="*/ 132 h 282"/>
                <a:gd name="T2" fmla="*/ 6 w 156"/>
                <a:gd name="T3" fmla="*/ 144 h 282"/>
                <a:gd name="T4" fmla="*/ 18 w 156"/>
                <a:gd name="T5" fmla="*/ 150 h 282"/>
                <a:gd name="T6" fmla="*/ 30 w 156"/>
                <a:gd name="T7" fmla="*/ 156 h 282"/>
                <a:gd name="T8" fmla="*/ 42 w 156"/>
                <a:gd name="T9" fmla="*/ 150 h 282"/>
                <a:gd name="T10" fmla="*/ 60 w 156"/>
                <a:gd name="T11" fmla="*/ 150 h 282"/>
                <a:gd name="T12" fmla="*/ 66 w 156"/>
                <a:gd name="T13" fmla="*/ 162 h 282"/>
                <a:gd name="T14" fmla="*/ 66 w 156"/>
                <a:gd name="T15" fmla="*/ 174 h 282"/>
                <a:gd name="T16" fmla="*/ 66 w 156"/>
                <a:gd name="T17" fmla="*/ 192 h 282"/>
                <a:gd name="T18" fmla="*/ 66 w 156"/>
                <a:gd name="T19" fmla="*/ 198 h 282"/>
                <a:gd name="T20" fmla="*/ 60 w 156"/>
                <a:gd name="T21" fmla="*/ 210 h 282"/>
                <a:gd name="T22" fmla="*/ 48 w 156"/>
                <a:gd name="T23" fmla="*/ 216 h 282"/>
                <a:gd name="T24" fmla="*/ 54 w 156"/>
                <a:gd name="T25" fmla="*/ 228 h 282"/>
                <a:gd name="T26" fmla="*/ 54 w 156"/>
                <a:gd name="T27" fmla="*/ 234 h 282"/>
                <a:gd name="T28" fmla="*/ 60 w 156"/>
                <a:gd name="T29" fmla="*/ 246 h 282"/>
                <a:gd name="T30" fmla="*/ 66 w 156"/>
                <a:gd name="T31" fmla="*/ 252 h 282"/>
                <a:gd name="T32" fmla="*/ 78 w 156"/>
                <a:gd name="T33" fmla="*/ 258 h 282"/>
                <a:gd name="T34" fmla="*/ 84 w 156"/>
                <a:gd name="T35" fmla="*/ 270 h 282"/>
                <a:gd name="T36" fmla="*/ 96 w 156"/>
                <a:gd name="T37" fmla="*/ 276 h 282"/>
                <a:gd name="T38" fmla="*/ 102 w 156"/>
                <a:gd name="T39" fmla="*/ 282 h 282"/>
                <a:gd name="T40" fmla="*/ 102 w 156"/>
                <a:gd name="T41" fmla="*/ 264 h 282"/>
                <a:gd name="T42" fmla="*/ 96 w 156"/>
                <a:gd name="T43" fmla="*/ 252 h 282"/>
                <a:gd name="T44" fmla="*/ 102 w 156"/>
                <a:gd name="T45" fmla="*/ 240 h 282"/>
                <a:gd name="T46" fmla="*/ 114 w 156"/>
                <a:gd name="T47" fmla="*/ 234 h 282"/>
                <a:gd name="T48" fmla="*/ 126 w 156"/>
                <a:gd name="T49" fmla="*/ 228 h 282"/>
                <a:gd name="T50" fmla="*/ 126 w 156"/>
                <a:gd name="T51" fmla="*/ 186 h 282"/>
                <a:gd name="T52" fmla="*/ 114 w 156"/>
                <a:gd name="T53" fmla="*/ 144 h 282"/>
                <a:gd name="T54" fmla="*/ 90 w 156"/>
                <a:gd name="T55" fmla="*/ 114 h 282"/>
                <a:gd name="T56" fmla="*/ 66 w 156"/>
                <a:gd name="T57" fmla="*/ 102 h 282"/>
                <a:gd name="T58" fmla="*/ 66 w 156"/>
                <a:gd name="T59" fmla="*/ 90 h 282"/>
                <a:gd name="T60" fmla="*/ 60 w 156"/>
                <a:gd name="T61" fmla="*/ 72 h 282"/>
                <a:gd name="T62" fmla="*/ 60 w 156"/>
                <a:gd name="T63" fmla="*/ 48 h 282"/>
                <a:gd name="T64" fmla="*/ 60 w 156"/>
                <a:gd name="T65" fmla="*/ 36 h 282"/>
                <a:gd name="T66" fmla="*/ 66 w 156"/>
                <a:gd name="T67" fmla="*/ 12 h 282"/>
                <a:gd name="T68" fmla="*/ 102 w 156"/>
                <a:gd name="T69" fmla="*/ 6 h 282"/>
                <a:gd name="T70" fmla="*/ 108 w 156"/>
                <a:gd name="T71" fmla="*/ 6 h 282"/>
                <a:gd name="T72" fmla="*/ 114 w 156"/>
                <a:gd name="T73" fmla="*/ 6 h 282"/>
                <a:gd name="T74" fmla="*/ 114 w 156"/>
                <a:gd name="T75" fmla="*/ 12 h 282"/>
                <a:gd name="T76" fmla="*/ 120 w 156"/>
                <a:gd name="T77" fmla="*/ 6 h 282"/>
                <a:gd name="T78" fmla="*/ 132 w 156"/>
                <a:gd name="T79" fmla="*/ 0 h 282"/>
                <a:gd name="T80" fmla="*/ 144 w 156"/>
                <a:gd name="T81" fmla="*/ 6 h 282"/>
                <a:gd name="T82" fmla="*/ 150 w 156"/>
                <a:gd name="T83" fmla="*/ 12 h 282"/>
                <a:gd name="T84" fmla="*/ 156 w 156"/>
                <a:gd name="T85" fmla="*/ 12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6"/>
                <a:gd name="T130" fmla="*/ 0 h 282"/>
                <a:gd name="T131" fmla="*/ 156 w 156"/>
                <a:gd name="T132" fmla="*/ 282 h 2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5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3881" y="2866"/>
              <a:ext cx="311" cy="581"/>
            </a:xfrm>
            <a:custGeom>
              <a:avLst/>
              <a:gdLst>
                <a:gd name="T0" fmla="*/ 66 w 366"/>
                <a:gd name="T1" fmla="*/ 372 h 684"/>
                <a:gd name="T2" fmla="*/ 54 w 366"/>
                <a:gd name="T3" fmla="*/ 360 h 684"/>
                <a:gd name="T4" fmla="*/ 42 w 366"/>
                <a:gd name="T5" fmla="*/ 324 h 684"/>
                <a:gd name="T6" fmla="*/ 36 w 366"/>
                <a:gd name="T7" fmla="*/ 288 h 684"/>
                <a:gd name="T8" fmla="*/ 42 w 366"/>
                <a:gd name="T9" fmla="*/ 270 h 684"/>
                <a:gd name="T10" fmla="*/ 54 w 366"/>
                <a:gd name="T11" fmla="*/ 246 h 684"/>
                <a:gd name="T12" fmla="*/ 66 w 366"/>
                <a:gd name="T13" fmla="*/ 228 h 684"/>
                <a:gd name="T14" fmla="*/ 96 w 366"/>
                <a:gd name="T15" fmla="*/ 210 h 684"/>
                <a:gd name="T16" fmla="*/ 108 w 366"/>
                <a:gd name="T17" fmla="*/ 204 h 684"/>
                <a:gd name="T18" fmla="*/ 120 w 366"/>
                <a:gd name="T19" fmla="*/ 210 h 684"/>
                <a:gd name="T20" fmla="*/ 132 w 366"/>
                <a:gd name="T21" fmla="*/ 192 h 684"/>
                <a:gd name="T22" fmla="*/ 150 w 366"/>
                <a:gd name="T23" fmla="*/ 192 h 684"/>
                <a:gd name="T24" fmla="*/ 162 w 366"/>
                <a:gd name="T25" fmla="*/ 198 h 684"/>
                <a:gd name="T26" fmla="*/ 168 w 366"/>
                <a:gd name="T27" fmla="*/ 180 h 684"/>
                <a:gd name="T28" fmla="*/ 192 w 366"/>
                <a:gd name="T29" fmla="*/ 168 h 684"/>
                <a:gd name="T30" fmla="*/ 198 w 366"/>
                <a:gd name="T31" fmla="*/ 168 h 684"/>
                <a:gd name="T32" fmla="*/ 204 w 366"/>
                <a:gd name="T33" fmla="*/ 156 h 684"/>
                <a:gd name="T34" fmla="*/ 216 w 366"/>
                <a:gd name="T35" fmla="*/ 144 h 684"/>
                <a:gd name="T36" fmla="*/ 222 w 366"/>
                <a:gd name="T37" fmla="*/ 138 h 684"/>
                <a:gd name="T38" fmla="*/ 228 w 366"/>
                <a:gd name="T39" fmla="*/ 120 h 684"/>
                <a:gd name="T40" fmla="*/ 240 w 366"/>
                <a:gd name="T41" fmla="*/ 120 h 684"/>
                <a:gd name="T42" fmla="*/ 240 w 366"/>
                <a:gd name="T43" fmla="*/ 102 h 684"/>
                <a:gd name="T44" fmla="*/ 240 w 366"/>
                <a:gd name="T45" fmla="*/ 84 h 684"/>
                <a:gd name="T46" fmla="*/ 264 w 366"/>
                <a:gd name="T47" fmla="*/ 84 h 684"/>
                <a:gd name="T48" fmla="*/ 276 w 366"/>
                <a:gd name="T49" fmla="*/ 72 h 684"/>
                <a:gd name="T50" fmla="*/ 288 w 366"/>
                <a:gd name="T51" fmla="*/ 54 h 684"/>
                <a:gd name="T52" fmla="*/ 276 w 366"/>
                <a:gd name="T53" fmla="*/ 24 h 684"/>
                <a:gd name="T54" fmla="*/ 294 w 366"/>
                <a:gd name="T55" fmla="*/ 12 h 684"/>
                <a:gd name="T56" fmla="*/ 300 w 366"/>
                <a:gd name="T57" fmla="*/ 0 h 684"/>
                <a:gd name="T58" fmla="*/ 306 w 366"/>
                <a:gd name="T59" fmla="*/ 18 h 684"/>
                <a:gd name="T60" fmla="*/ 312 w 366"/>
                <a:gd name="T61" fmla="*/ 18 h 684"/>
                <a:gd name="T62" fmla="*/ 324 w 366"/>
                <a:gd name="T63" fmla="*/ 42 h 684"/>
                <a:gd name="T64" fmla="*/ 336 w 366"/>
                <a:gd name="T65" fmla="*/ 60 h 684"/>
                <a:gd name="T66" fmla="*/ 348 w 366"/>
                <a:gd name="T67" fmla="*/ 102 h 684"/>
                <a:gd name="T68" fmla="*/ 354 w 366"/>
                <a:gd name="T69" fmla="*/ 150 h 684"/>
                <a:gd name="T70" fmla="*/ 360 w 366"/>
                <a:gd name="T71" fmla="*/ 180 h 684"/>
                <a:gd name="T72" fmla="*/ 336 w 366"/>
                <a:gd name="T73" fmla="*/ 192 h 684"/>
                <a:gd name="T74" fmla="*/ 324 w 366"/>
                <a:gd name="T75" fmla="*/ 180 h 684"/>
                <a:gd name="T76" fmla="*/ 330 w 366"/>
                <a:gd name="T77" fmla="*/ 216 h 684"/>
                <a:gd name="T78" fmla="*/ 330 w 366"/>
                <a:gd name="T79" fmla="*/ 246 h 684"/>
                <a:gd name="T80" fmla="*/ 312 w 366"/>
                <a:gd name="T81" fmla="*/ 288 h 684"/>
                <a:gd name="T82" fmla="*/ 306 w 366"/>
                <a:gd name="T83" fmla="*/ 330 h 684"/>
                <a:gd name="T84" fmla="*/ 276 w 366"/>
                <a:gd name="T85" fmla="*/ 408 h 684"/>
                <a:gd name="T86" fmla="*/ 258 w 366"/>
                <a:gd name="T87" fmla="*/ 474 h 684"/>
                <a:gd name="T88" fmla="*/ 234 w 366"/>
                <a:gd name="T89" fmla="*/ 534 h 684"/>
                <a:gd name="T90" fmla="*/ 222 w 366"/>
                <a:gd name="T91" fmla="*/ 582 h 684"/>
                <a:gd name="T92" fmla="*/ 204 w 366"/>
                <a:gd name="T93" fmla="*/ 630 h 684"/>
                <a:gd name="T94" fmla="*/ 180 w 366"/>
                <a:gd name="T95" fmla="*/ 654 h 684"/>
                <a:gd name="T96" fmla="*/ 132 w 366"/>
                <a:gd name="T97" fmla="*/ 672 h 684"/>
                <a:gd name="T98" fmla="*/ 96 w 366"/>
                <a:gd name="T99" fmla="*/ 678 h 684"/>
                <a:gd name="T100" fmla="*/ 48 w 366"/>
                <a:gd name="T101" fmla="*/ 654 h 684"/>
                <a:gd name="T102" fmla="*/ 24 w 366"/>
                <a:gd name="T103" fmla="*/ 618 h 684"/>
                <a:gd name="T104" fmla="*/ 30 w 366"/>
                <a:gd name="T105" fmla="*/ 570 h 684"/>
                <a:gd name="T106" fmla="*/ 6 w 366"/>
                <a:gd name="T107" fmla="*/ 534 h 684"/>
                <a:gd name="T108" fmla="*/ 6 w 366"/>
                <a:gd name="T109" fmla="*/ 492 h 684"/>
                <a:gd name="T110" fmla="*/ 18 w 366"/>
                <a:gd name="T111" fmla="*/ 480 h 684"/>
                <a:gd name="T112" fmla="*/ 18 w 366"/>
                <a:gd name="T113" fmla="*/ 474 h 684"/>
                <a:gd name="T114" fmla="*/ 36 w 366"/>
                <a:gd name="T115" fmla="*/ 462 h 684"/>
                <a:gd name="T116" fmla="*/ 42 w 366"/>
                <a:gd name="T117" fmla="*/ 444 h 684"/>
                <a:gd name="T118" fmla="*/ 60 w 366"/>
                <a:gd name="T119" fmla="*/ 414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6"/>
                <a:gd name="T181" fmla="*/ 0 h 684"/>
                <a:gd name="T182" fmla="*/ 366 w 366"/>
                <a:gd name="T183" fmla="*/ 684 h 6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53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3284" y="2463"/>
              <a:ext cx="76" cy="92"/>
            </a:xfrm>
            <a:custGeom>
              <a:avLst/>
              <a:gdLst>
                <a:gd name="T0" fmla="*/ 0 w 90"/>
                <a:gd name="T1" fmla="*/ 12 h 108"/>
                <a:gd name="T2" fmla="*/ 12 w 90"/>
                <a:gd name="T3" fmla="*/ 12 h 108"/>
                <a:gd name="T4" fmla="*/ 18 w 90"/>
                <a:gd name="T5" fmla="*/ 18 h 108"/>
                <a:gd name="T6" fmla="*/ 18 w 90"/>
                <a:gd name="T7" fmla="*/ 24 h 108"/>
                <a:gd name="T8" fmla="*/ 30 w 90"/>
                <a:gd name="T9" fmla="*/ 24 h 108"/>
                <a:gd name="T10" fmla="*/ 36 w 90"/>
                <a:gd name="T11" fmla="*/ 18 h 108"/>
                <a:gd name="T12" fmla="*/ 42 w 90"/>
                <a:gd name="T13" fmla="*/ 24 h 108"/>
                <a:gd name="T14" fmla="*/ 42 w 90"/>
                <a:gd name="T15" fmla="*/ 12 h 108"/>
                <a:gd name="T16" fmla="*/ 48 w 90"/>
                <a:gd name="T17" fmla="*/ 6 h 108"/>
                <a:gd name="T18" fmla="*/ 54 w 90"/>
                <a:gd name="T19" fmla="*/ 6 h 108"/>
                <a:gd name="T20" fmla="*/ 66 w 90"/>
                <a:gd name="T21" fmla="*/ 0 h 108"/>
                <a:gd name="T22" fmla="*/ 78 w 90"/>
                <a:gd name="T23" fmla="*/ 0 h 108"/>
                <a:gd name="T24" fmla="*/ 72 w 90"/>
                <a:gd name="T25" fmla="*/ 6 h 108"/>
                <a:gd name="T26" fmla="*/ 66 w 90"/>
                <a:gd name="T27" fmla="*/ 18 h 108"/>
                <a:gd name="T28" fmla="*/ 72 w 90"/>
                <a:gd name="T29" fmla="*/ 24 h 108"/>
                <a:gd name="T30" fmla="*/ 72 w 90"/>
                <a:gd name="T31" fmla="*/ 24 h 108"/>
                <a:gd name="T32" fmla="*/ 78 w 90"/>
                <a:gd name="T33" fmla="*/ 30 h 108"/>
                <a:gd name="T34" fmla="*/ 90 w 90"/>
                <a:gd name="T35" fmla="*/ 30 h 108"/>
                <a:gd name="T36" fmla="*/ 90 w 90"/>
                <a:gd name="T37" fmla="*/ 42 h 108"/>
                <a:gd name="T38" fmla="*/ 84 w 90"/>
                <a:gd name="T39" fmla="*/ 48 h 108"/>
                <a:gd name="T40" fmla="*/ 78 w 90"/>
                <a:gd name="T41" fmla="*/ 54 h 108"/>
                <a:gd name="T42" fmla="*/ 78 w 90"/>
                <a:gd name="T43" fmla="*/ 54 h 108"/>
                <a:gd name="T44" fmla="*/ 72 w 90"/>
                <a:gd name="T45" fmla="*/ 60 h 108"/>
                <a:gd name="T46" fmla="*/ 66 w 90"/>
                <a:gd name="T47" fmla="*/ 72 h 108"/>
                <a:gd name="T48" fmla="*/ 60 w 90"/>
                <a:gd name="T49" fmla="*/ 84 h 108"/>
                <a:gd name="T50" fmla="*/ 54 w 90"/>
                <a:gd name="T51" fmla="*/ 90 h 108"/>
                <a:gd name="T52" fmla="*/ 48 w 90"/>
                <a:gd name="T53" fmla="*/ 96 h 108"/>
                <a:gd name="T54" fmla="*/ 42 w 90"/>
                <a:gd name="T55" fmla="*/ 102 h 108"/>
                <a:gd name="T56" fmla="*/ 36 w 90"/>
                <a:gd name="T57" fmla="*/ 108 h 108"/>
                <a:gd name="T58" fmla="*/ 30 w 90"/>
                <a:gd name="T59" fmla="*/ 102 h 108"/>
                <a:gd name="T60" fmla="*/ 18 w 90"/>
                <a:gd name="T61" fmla="*/ 90 h 108"/>
                <a:gd name="T62" fmla="*/ 12 w 90"/>
                <a:gd name="T63" fmla="*/ 84 h 108"/>
                <a:gd name="T64" fmla="*/ 12 w 90"/>
                <a:gd name="T65" fmla="*/ 72 h 108"/>
                <a:gd name="T66" fmla="*/ 12 w 90"/>
                <a:gd name="T67" fmla="*/ 60 h 108"/>
                <a:gd name="T68" fmla="*/ 6 w 90"/>
                <a:gd name="T69" fmla="*/ 48 h 108"/>
                <a:gd name="T70" fmla="*/ 6 w 90"/>
                <a:gd name="T71" fmla="*/ 42 h 108"/>
                <a:gd name="T72" fmla="*/ 6 w 90"/>
                <a:gd name="T73" fmla="*/ 42 h 108"/>
                <a:gd name="T74" fmla="*/ 12 w 90"/>
                <a:gd name="T75" fmla="*/ 36 h 108"/>
                <a:gd name="T76" fmla="*/ 12 w 90"/>
                <a:gd name="T77" fmla="*/ 36 h 108"/>
                <a:gd name="T78" fmla="*/ 6 w 90"/>
                <a:gd name="T79" fmla="*/ 30 h 108"/>
                <a:gd name="T80" fmla="*/ 0 w 90"/>
                <a:gd name="T81" fmla="*/ 24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0"/>
                <a:gd name="T124" fmla="*/ 0 h 108"/>
                <a:gd name="T125" fmla="*/ 90 w 90"/>
                <a:gd name="T126" fmla="*/ 108 h 10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54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3437" y="2759"/>
              <a:ext cx="137" cy="326"/>
            </a:xfrm>
            <a:custGeom>
              <a:avLst/>
              <a:gdLst>
                <a:gd name="T0" fmla="*/ 24 w 162"/>
                <a:gd name="T1" fmla="*/ 6 h 384"/>
                <a:gd name="T2" fmla="*/ 42 w 162"/>
                <a:gd name="T3" fmla="*/ 12 h 384"/>
                <a:gd name="T4" fmla="*/ 60 w 162"/>
                <a:gd name="T5" fmla="*/ 18 h 384"/>
                <a:gd name="T6" fmla="*/ 72 w 162"/>
                <a:gd name="T7" fmla="*/ 6 h 384"/>
                <a:gd name="T8" fmla="*/ 84 w 162"/>
                <a:gd name="T9" fmla="*/ 18 h 384"/>
                <a:gd name="T10" fmla="*/ 90 w 162"/>
                <a:gd name="T11" fmla="*/ 36 h 384"/>
                <a:gd name="T12" fmla="*/ 96 w 162"/>
                <a:gd name="T13" fmla="*/ 60 h 384"/>
                <a:gd name="T14" fmla="*/ 96 w 162"/>
                <a:gd name="T15" fmla="*/ 84 h 384"/>
                <a:gd name="T16" fmla="*/ 108 w 162"/>
                <a:gd name="T17" fmla="*/ 96 h 384"/>
                <a:gd name="T18" fmla="*/ 96 w 162"/>
                <a:gd name="T19" fmla="*/ 108 h 384"/>
                <a:gd name="T20" fmla="*/ 90 w 162"/>
                <a:gd name="T21" fmla="*/ 138 h 384"/>
                <a:gd name="T22" fmla="*/ 90 w 162"/>
                <a:gd name="T23" fmla="*/ 162 h 384"/>
                <a:gd name="T24" fmla="*/ 96 w 162"/>
                <a:gd name="T25" fmla="*/ 186 h 384"/>
                <a:gd name="T26" fmla="*/ 96 w 162"/>
                <a:gd name="T27" fmla="*/ 204 h 384"/>
                <a:gd name="T28" fmla="*/ 126 w 162"/>
                <a:gd name="T29" fmla="*/ 222 h 384"/>
                <a:gd name="T30" fmla="*/ 162 w 162"/>
                <a:gd name="T31" fmla="*/ 276 h 384"/>
                <a:gd name="T32" fmla="*/ 156 w 162"/>
                <a:gd name="T33" fmla="*/ 330 h 384"/>
                <a:gd name="T34" fmla="*/ 138 w 162"/>
                <a:gd name="T35" fmla="*/ 336 h 384"/>
                <a:gd name="T36" fmla="*/ 132 w 162"/>
                <a:gd name="T37" fmla="*/ 354 h 384"/>
                <a:gd name="T38" fmla="*/ 132 w 162"/>
                <a:gd name="T39" fmla="*/ 366 h 384"/>
                <a:gd name="T40" fmla="*/ 120 w 162"/>
                <a:gd name="T41" fmla="*/ 384 h 384"/>
                <a:gd name="T42" fmla="*/ 120 w 162"/>
                <a:gd name="T43" fmla="*/ 372 h 384"/>
                <a:gd name="T44" fmla="*/ 108 w 162"/>
                <a:gd name="T45" fmla="*/ 360 h 384"/>
                <a:gd name="T46" fmla="*/ 96 w 162"/>
                <a:gd name="T47" fmla="*/ 348 h 384"/>
                <a:gd name="T48" fmla="*/ 84 w 162"/>
                <a:gd name="T49" fmla="*/ 342 h 384"/>
                <a:gd name="T50" fmla="*/ 84 w 162"/>
                <a:gd name="T51" fmla="*/ 330 h 384"/>
                <a:gd name="T52" fmla="*/ 84 w 162"/>
                <a:gd name="T53" fmla="*/ 318 h 384"/>
                <a:gd name="T54" fmla="*/ 90 w 162"/>
                <a:gd name="T55" fmla="*/ 300 h 384"/>
                <a:gd name="T56" fmla="*/ 96 w 162"/>
                <a:gd name="T57" fmla="*/ 294 h 384"/>
                <a:gd name="T58" fmla="*/ 96 w 162"/>
                <a:gd name="T59" fmla="*/ 270 h 384"/>
                <a:gd name="T60" fmla="*/ 90 w 162"/>
                <a:gd name="T61" fmla="*/ 258 h 384"/>
                <a:gd name="T62" fmla="*/ 72 w 162"/>
                <a:gd name="T63" fmla="*/ 252 h 384"/>
                <a:gd name="T64" fmla="*/ 54 w 162"/>
                <a:gd name="T65" fmla="*/ 258 h 384"/>
                <a:gd name="T66" fmla="*/ 42 w 162"/>
                <a:gd name="T67" fmla="*/ 246 h 384"/>
                <a:gd name="T68" fmla="*/ 30 w 162"/>
                <a:gd name="T69" fmla="*/ 234 h 384"/>
                <a:gd name="T70" fmla="*/ 18 w 162"/>
                <a:gd name="T71" fmla="*/ 228 h 384"/>
                <a:gd name="T72" fmla="*/ 12 w 162"/>
                <a:gd name="T73" fmla="*/ 222 h 384"/>
                <a:gd name="T74" fmla="*/ 6 w 162"/>
                <a:gd name="T75" fmla="*/ 216 h 384"/>
                <a:gd name="T76" fmla="*/ 0 w 162"/>
                <a:gd name="T77" fmla="*/ 210 h 384"/>
                <a:gd name="T78" fmla="*/ 12 w 162"/>
                <a:gd name="T79" fmla="*/ 192 h 384"/>
                <a:gd name="T80" fmla="*/ 18 w 162"/>
                <a:gd name="T81" fmla="*/ 174 h 384"/>
                <a:gd name="T82" fmla="*/ 18 w 162"/>
                <a:gd name="T83" fmla="*/ 162 h 384"/>
                <a:gd name="T84" fmla="*/ 36 w 162"/>
                <a:gd name="T85" fmla="*/ 156 h 384"/>
                <a:gd name="T86" fmla="*/ 36 w 162"/>
                <a:gd name="T87" fmla="*/ 144 h 384"/>
                <a:gd name="T88" fmla="*/ 30 w 162"/>
                <a:gd name="T89" fmla="*/ 126 h 384"/>
                <a:gd name="T90" fmla="*/ 30 w 162"/>
                <a:gd name="T91" fmla="*/ 108 h 384"/>
                <a:gd name="T92" fmla="*/ 30 w 162"/>
                <a:gd name="T93" fmla="*/ 96 h 384"/>
                <a:gd name="T94" fmla="*/ 30 w 162"/>
                <a:gd name="T95" fmla="*/ 84 h 384"/>
                <a:gd name="T96" fmla="*/ 42 w 162"/>
                <a:gd name="T97" fmla="*/ 66 h 384"/>
                <a:gd name="T98" fmla="*/ 48 w 162"/>
                <a:gd name="T99" fmla="*/ 60 h 384"/>
                <a:gd name="T100" fmla="*/ 36 w 162"/>
                <a:gd name="T101" fmla="*/ 36 h 384"/>
                <a:gd name="T102" fmla="*/ 30 w 162"/>
                <a:gd name="T103" fmla="*/ 24 h 384"/>
                <a:gd name="T104" fmla="*/ 24 w 162"/>
                <a:gd name="T105" fmla="*/ 18 h 384"/>
                <a:gd name="T106" fmla="*/ 12 w 162"/>
                <a:gd name="T107" fmla="*/ 6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2"/>
                <a:gd name="T163" fmla="*/ 0 h 384"/>
                <a:gd name="T164" fmla="*/ 162 w 162"/>
                <a:gd name="T165" fmla="*/ 384 h 3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1" name="Group 55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294" y="2406"/>
              <a:ext cx="469" cy="454"/>
              <a:chOff x="3294" y="2406"/>
              <a:chExt cx="469" cy="454"/>
            </a:xfrm>
            <a:grpFill/>
          </p:grpSpPr>
          <p:sp>
            <p:nvSpPr>
              <p:cNvPr id="164" name="Freeform 56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294" y="2406"/>
                <a:ext cx="469" cy="454"/>
              </a:xfrm>
              <a:custGeom>
                <a:avLst/>
                <a:gdLst>
                  <a:gd name="T0" fmla="*/ 30 w 552"/>
                  <a:gd name="T1" fmla="*/ 168 h 534"/>
                  <a:gd name="T2" fmla="*/ 48 w 552"/>
                  <a:gd name="T3" fmla="*/ 150 h 534"/>
                  <a:gd name="T4" fmla="*/ 66 w 552"/>
                  <a:gd name="T5" fmla="*/ 120 h 534"/>
                  <a:gd name="T6" fmla="*/ 78 w 552"/>
                  <a:gd name="T7" fmla="*/ 108 h 534"/>
                  <a:gd name="T8" fmla="*/ 60 w 552"/>
                  <a:gd name="T9" fmla="*/ 90 h 534"/>
                  <a:gd name="T10" fmla="*/ 60 w 552"/>
                  <a:gd name="T11" fmla="*/ 72 h 534"/>
                  <a:gd name="T12" fmla="*/ 78 w 552"/>
                  <a:gd name="T13" fmla="*/ 60 h 534"/>
                  <a:gd name="T14" fmla="*/ 78 w 552"/>
                  <a:gd name="T15" fmla="*/ 36 h 534"/>
                  <a:gd name="T16" fmla="*/ 60 w 552"/>
                  <a:gd name="T17" fmla="*/ 12 h 534"/>
                  <a:gd name="T18" fmla="*/ 90 w 552"/>
                  <a:gd name="T19" fmla="*/ 0 h 534"/>
                  <a:gd name="T20" fmla="*/ 288 w 552"/>
                  <a:gd name="T21" fmla="*/ 30 h 534"/>
                  <a:gd name="T22" fmla="*/ 414 w 552"/>
                  <a:gd name="T23" fmla="*/ 96 h 534"/>
                  <a:gd name="T24" fmla="*/ 426 w 552"/>
                  <a:gd name="T25" fmla="*/ 132 h 534"/>
                  <a:gd name="T26" fmla="*/ 492 w 552"/>
                  <a:gd name="T27" fmla="*/ 192 h 534"/>
                  <a:gd name="T28" fmla="*/ 486 w 552"/>
                  <a:gd name="T29" fmla="*/ 198 h 534"/>
                  <a:gd name="T30" fmla="*/ 486 w 552"/>
                  <a:gd name="T31" fmla="*/ 210 h 534"/>
                  <a:gd name="T32" fmla="*/ 480 w 552"/>
                  <a:gd name="T33" fmla="*/ 228 h 534"/>
                  <a:gd name="T34" fmla="*/ 474 w 552"/>
                  <a:gd name="T35" fmla="*/ 264 h 534"/>
                  <a:gd name="T36" fmla="*/ 480 w 552"/>
                  <a:gd name="T37" fmla="*/ 270 h 534"/>
                  <a:gd name="T38" fmla="*/ 492 w 552"/>
                  <a:gd name="T39" fmla="*/ 282 h 534"/>
                  <a:gd name="T40" fmla="*/ 510 w 552"/>
                  <a:gd name="T41" fmla="*/ 300 h 534"/>
                  <a:gd name="T42" fmla="*/ 498 w 552"/>
                  <a:gd name="T43" fmla="*/ 312 h 534"/>
                  <a:gd name="T44" fmla="*/ 498 w 552"/>
                  <a:gd name="T45" fmla="*/ 336 h 534"/>
                  <a:gd name="T46" fmla="*/ 498 w 552"/>
                  <a:gd name="T47" fmla="*/ 354 h 534"/>
                  <a:gd name="T48" fmla="*/ 498 w 552"/>
                  <a:gd name="T49" fmla="*/ 384 h 534"/>
                  <a:gd name="T50" fmla="*/ 504 w 552"/>
                  <a:gd name="T51" fmla="*/ 390 h 534"/>
                  <a:gd name="T52" fmla="*/ 510 w 552"/>
                  <a:gd name="T53" fmla="*/ 402 h 534"/>
                  <a:gd name="T54" fmla="*/ 510 w 552"/>
                  <a:gd name="T55" fmla="*/ 402 h 534"/>
                  <a:gd name="T56" fmla="*/ 516 w 552"/>
                  <a:gd name="T57" fmla="*/ 426 h 534"/>
                  <a:gd name="T58" fmla="*/ 516 w 552"/>
                  <a:gd name="T59" fmla="*/ 444 h 534"/>
                  <a:gd name="T60" fmla="*/ 534 w 552"/>
                  <a:gd name="T61" fmla="*/ 456 h 534"/>
                  <a:gd name="T62" fmla="*/ 540 w 552"/>
                  <a:gd name="T63" fmla="*/ 462 h 534"/>
                  <a:gd name="T64" fmla="*/ 552 w 552"/>
                  <a:gd name="T65" fmla="*/ 462 h 534"/>
                  <a:gd name="T66" fmla="*/ 528 w 552"/>
                  <a:gd name="T67" fmla="*/ 486 h 534"/>
                  <a:gd name="T68" fmla="*/ 498 w 552"/>
                  <a:gd name="T69" fmla="*/ 504 h 534"/>
                  <a:gd name="T70" fmla="*/ 468 w 552"/>
                  <a:gd name="T71" fmla="*/ 510 h 534"/>
                  <a:gd name="T72" fmla="*/ 444 w 552"/>
                  <a:gd name="T73" fmla="*/ 510 h 534"/>
                  <a:gd name="T74" fmla="*/ 420 w 552"/>
                  <a:gd name="T75" fmla="*/ 522 h 534"/>
                  <a:gd name="T76" fmla="*/ 402 w 552"/>
                  <a:gd name="T77" fmla="*/ 528 h 534"/>
                  <a:gd name="T78" fmla="*/ 372 w 552"/>
                  <a:gd name="T79" fmla="*/ 522 h 534"/>
                  <a:gd name="T80" fmla="*/ 354 w 552"/>
                  <a:gd name="T81" fmla="*/ 528 h 534"/>
                  <a:gd name="T82" fmla="*/ 342 w 552"/>
                  <a:gd name="T83" fmla="*/ 522 h 534"/>
                  <a:gd name="T84" fmla="*/ 318 w 552"/>
                  <a:gd name="T85" fmla="*/ 522 h 534"/>
                  <a:gd name="T86" fmla="*/ 312 w 552"/>
                  <a:gd name="T87" fmla="*/ 522 h 534"/>
                  <a:gd name="T88" fmla="*/ 300 w 552"/>
                  <a:gd name="T89" fmla="*/ 522 h 534"/>
                  <a:gd name="T90" fmla="*/ 270 w 552"/>
                  <a:gd name="T91" fmla="*/ 504 h 534"/>
                  <a:gd name="T92" fmla="*/ 264 w 552"/>
                  <a:gd name="T93" fmla="*/ 474 h 534"/>
                  <a:gd name="T94" fmla="*/ 258 w 552"/>
                  <a:gd name="T95" fmla="*/ 444 h 534"/>
                  <a:gd name="T96" fmla="*/ 240 w 552"/>
                  <a:gd name="T97" fmla="*/ 420 h 534"/>
                  <a:gd name="T98" fmla="*/ 222 w 552"/>
                  <a:gd name="T99" fmla="*/ 426 h 534"/>
                  <a:gd name="T100" fmla="*/ 192 w 552"/>
                  <a:gd name="T101" fmla="*/ 420 h 534"/>
                  <a:gd name="T102" fmla="*/ 168 w 552"/>
                  <a:gd name="T103" fmla="*/ 408 h 534"/>
                  <a:gd name="T104" fmla="*/ 138 w 552"/>
                  <a:gd name="T105" fmla="*/ 402 h 534"/>
                  <a:gd name="T106" fmla="*/ 114 w 552"/>
                  <a:gd name="T107" fmla="*/ 390 h 534"/>
                  <a:gd name="T108" fmla="*/ 90 w 552"/>
                  <a:gd name="T109" fmla="*/ 378 h 534"/>
                  <a:gd name="T110" fmla="*/ 72 w 552"/>
                  <a:gd name="T111" fmla="*/ 348 h 534"/>
                  <a:gd name="T112" fmla="*/ 48 w 552"/>
                  <a:gd name="T113" fmla="*/ 300 h 534"/>
                  <a:gd name="T114" fmla="*/ 18 w 552"/>
                  <a:gd name="T115" fmla="*/ 264 h 534"/>
                  <a:gd name="T116" fmla="*/ 18 w 552"/>
                  <a:gd name="T117" fmla="*/ 228 h 534"/>
                  <a:gd name="T118" fmla="*/ 0 w 552"/>
                  <a:gd name="T119" fmla="*/ 192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52"/>
                  <a:gd name="T181" fmla="*/ 0 h 534"/>
                  <a:gd name="T182" fmla="*/ 552 w 552"/>
                  <a:gd name="T183" fmla="*/ 534 h 53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" name="Freeform 57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728" y="2687"/>
                <a:ext cx="15" cy="15"/>
              </a:xfrm>
              <a:custGeom>
                <a:avLst/>
                <a:gdLst>
                  <a:gd name="T0" fmla="*/ 12 w 18"/>
                  <a:gd name="T1" fmla="*/ 6 h 18"/>
                  <a:gd name="T2" fmla="*/ 18 w 18"/>
                  <a:gd name="T3" fmla="*/ 6 h 18"/>
                  <a:gd name="T4" fmla="*/ 12 w 18"/>
                  <a:gd name="T5" fmla="*/ 6 h 18"/>
                  <a:gd name="T6" fmla="*/ 18 w 18"/>
                  <a:gd name="T7" fmla="*/ 0 h 18"/>
                  <a:gd name="T8" fmla="*/ 18 w 18"/>
                  <a:gd name="T9" fmla="*/ 6 h 18"/>
                  <a:gd name="T10" fmla="*/ 12 w 18"/>
                  <a:gd name="T11" fmla="*/ 12 h 18"/>
                  <a:gd name="T12" fmla="*/ 18 w 18"/>
                  <a:gd name="T13" fmla="*/ 12 h 18"/>
                  <a:gd name="T14" fmla="*/ 12 w 18"/>
                  <a:gd name="T15" fmla="*/ 12 h 18"/>
                  <a:gd name="T16" fmla="*/ 6 w 18"/>
                  <a:gd name="T17" fmla="*/ 12 h 18"/>
                  <a:gd name="T18" fmla="*/ 12 w 18"/>
                  <a:gd name="T19" fmla="*/ 18 h 18"/>
                  <a:gd name="T20" fmla="*/ 6 w 18"/>
                  <a:gd name="T21" fmla="*/ 18 h 18"/>
                  <a:gd name="T22" fmla="*/ 0 w 18"/>
                  <a:gd name="T23" fmla="*/ 12 h 18"/>
                  <a:gd name="T24" fmla="*/ 6 w 18"/>
                  <a:gd name="T25" fmla="*/ 12 h 18"/>
                  <a:gd name="T26" fmla="*/ 6 w 18"/>
                  <a:gd name="T27" fmla="*/ 6 h 18"/>
                  <a:gd name="T28" fmla="*/ 6 w 18"/>
                  <a:gd name="T29" fmla="*/ 12 h 18"/>
                  <a:gd name="T30" fmla="*/ 6 w 18"/>
                  <a:gd name="T31" fmla="*/ 6 h 18"/>
                  <a:gd name="T32" fmla="*/ 12 w 18"/>
                  <a:gd name="T33" fmla="*/ 6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"/>
                  <a:gd name="T52" fmla="*/ 0 h 18"/>
                  <a:gd name="T53" fmla="*/ 18 w 18"/>
                  <a:gd name="T54" fmla="*/ 18 h 1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6" name="Freeform 58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733" y="2570"/>
                <a:ext cx="10" cy="25"/>
              </a:xfrm>
              <a:custGeom>
                <a:avLst/>
                <a:gdLst>
                  <a:gd name="T0" fmla="*/ 12 w 12"/>
                  <a:gd name="T1" fmla="*/ 6 h 30"/>
                  <a:gd name="T2" fmla="*/ 6 w 12"/>
                  <a:gd name="T3" fmla="*/ 6 h 30"/>
                  <a:gd name="T4" fmla="*/ 6 w 12"/>
                  <a:gd name="T5" fmla="*/ 12 h 30"/>
                  <a:gd name="T6" fmla="*/ 12 w 12"/>
                  <a:gd name="T7" fmla="*/ 12 h 30"/>
                  <a:gd name="T8" fmla="*/ 12 w 12"/>
                  <a:gd name="T9" fmla="*/ 18 h 30"/>
                  <a:gd name="T10" fmla="*/ 6 w 12"/>
                  <a:gd name="T11" fmla="*/ 18 h 30"/>
                  <a:gd name="T12" fmla="*/ 6 w 12"/>
                  <a:gd name="T13" fmla="*/ 24 h 30"/>
                  <a:gd name="T14" fmla="*/ 6 w 12"/>
                  <a:gd name="T15" fmla="*/ 30 h 30"/>
                  <a:gd name="T16" fmla="*/ 6 w 12"/>
                  <a:gd name="T17" fmla="*/ 24 h 30"/>
                  <a:gd name="T18" fmla="*/ 0 w 12"/>
                  <a:gd name="T19" fmla="*/ 24 h 30"/>
                  <a:gd name="T20" fmla="*/ 0 w 12"/>
                  <a:gd name="T21" fmla="*/ 30 h 30"/>
                  <a:gd name="T22" fmla="*/ 0 w 12"/>
                  <a:gd name="T23" fmla="*/ 24 h 30"/>
                  <a:gd name="T24" fmla="*/ 0 w 12"/>
                  <a:gd name="T25" fmla="*/ 30 h 30"/>
                  <a:gd name="T26" fmla="*/ 0 w 12"/>
                  <a:gd name="T27" fmla="*/ 24 h 30"/>
                  <a:gd name="T28" fmla="*/ 0 w 12"/>
                  <a:gd name="T29" fmla="*/ 18 h 30"/>
                  <a:gd name="T30" fmla="*/ 0 w 12"/>
                  <a:gd name="T31" fmla="*/ 24 h 30"/>
                  <a:gd name="T32" fmla="*/ 0 w 12"/>
                  <a:gd name="T33" fmla="*/ 18 h 30"/>
                  <a:gd name="T34" fmla="*/ 6 w 12"/>
                  <a:gd name="T35" fmla="*/ 18 h 30"/>
                  <a:gd name="T36" fmla="*/ 0 w 12"/>
                  <a:gd name="T37" fmla="*/ 18 h 30"/>
                  <a:gd name="T38" fmla="*/ 6 w 12"/>
                  <a:gd name="T39" fmla="*/ 18 h 30"/>
                  <a:gd name="T40" fmla="*/ 6 w 12"/>
                  <a:gd name="T41" fmla="*/ 12 h 30"/>
                  <a:gd name="T42" fmla="*/ 0 w 12"/>
                  <a:gd name="T43" fmla="*/ 12 h 30"/>
                  <a:gd name="T44" fmla="*/ 6 w 12"/>
                  <a:gd name="T45" fmla="*/ 12 h 30"/>
                  <a:gd name="T46" fmla="*/ 0 w 12"/>
                  <a:gd name="T47" fmla="*/ 12 h 30"/>
                  <a:gd name="T48" fmla="*/ 0 w 12"/>
                  <a:gd name="T49" fmla="*/ 6 h 30"/>
                  <a:gd name="T50" fmla="*/ 0 w 12"/>
                  <a:gd name="T51" fmla="*/ 0 h 30"/>
                  <a:gd name="T52" fmla="*/ 6 w 12"/>
                  <a:gd name="T53" fmla="*/ 0 h 30"/>
                  <a:gd name="T54" fmla="*/ 6 w 12"/>
                  <a:gd name="T55" fmla="*/ 6 h 30"/>
                  <a:gd name="T56" fmla="*/ 6 w 12"/>
                  <a:gd name="T57" fmla="*/ 0 h 30"/>
                  <a:gd name="T58" fmla="*/ 6 w 12"/>
                  <a:gd name="T59" fmla="*/ 6 h 30"/>
                  <a:gd name="T60" fmla="*/ 12 w 12"/>
                  <a:gd name="T61" fmla="*/ 6 h 30"/>
                  <a:gd name="T62" fmla="*/ 12 w 12"/>
                  <a:gd name="T63" fmla="*/ 0 h 30"/>
                  <a:gd name="T64" fmla="*/ 12 w 12"/>
                  <a:gd name="T65" fmla="*/ 6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"/>
                  <a:gd name="T100" fmla="*/ 0 h 30"/>
                  <a:gd name="T101" fmla="*/ 12 w 1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7" name="Freeform 59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712" y="2606"/>
                <a:ext cx="16" cy="30"/>
              </a:xfrm>
              <a:custGeom>
                <a:avLst/>
                <a:gdLst>
                  <a:gd name="T0" fmla="*/ 0 w 18"/>
                  <a:gd name="T1" fmla="*/ 12 h 36"/>
                  <a:gd name="T2" fmla="*/ 0 w 18"/>
                  <a:gd name="T3" fmla="*/ 6 h 36"/>
                  <a:gd name="T4" fmla="*/ 6 w 18"/>
                  <a:gd name="T5" fmla="*/ 6 h 36"/>
                  <a:gd name="T6" fmla="*/ 6 w 18"/>
                  <a:gd name="T7" fmla="*/ 0 h 36"/>
                  <a:gd name="T8" fmla="*/ 6 w 18"/>
                  <a:gd name="T9" fmla="*/ 6 h 36"/>
                  <a:gd name="T10" fmla="*/ 12 w 18"/>
                  <a:gd name="T11" fmla="*/ 12 h 36"/>
                  <a:gd name="T12" fmla="*/ 12 w 18"/>
                  <a:gd name="T13" fmla="*/ 18 h 36"/>
                  <a:gd name="T14" fmla="*/ 12 w 18"/>
                  <a:gd name="T15" fmla="*/ 24 h 36"/>
                  <a:gd name="T16" fmla="*/ 18 w 18"/>
                  <a:gd name="T17" fmla="*/ 24 h 36"/>
                  <a:gd name="T18" fmla="*/ 18 w 18"/>
                  <a:gd name="T19" fmla="*/ 18 h 36"/>
                  <a:gd name="T20" fmla="*/ 18 w 18"/>
                  <a:gd name="T21" fmla="*/ 24 h 36"/>
                  <a:gd name="T22" fmla="*/ 18 w 18"/>
                  <a:gd name="T23" fmla="*/ 30 h 36"/>
                  <a:gd name="T24" fmla="*/ 18 w 18"/>
                  <a:gd name="T25" fmla="*/ 36 h 36"/>
                  <a:gd name="T26" fmla="*/ 12 w 18"/>
                  <a:gd name="T27" fmla="*/ 36 h 36"/>
                  <a:gd name="T28" fmla="*/ 12 w 18"/>
                  <a:gd name="T29" fmla="*/ 30 h 36"/>
                  <a:gd name="T30" fmla="*/ 6 w 18"/>
                  <a:gd name="T31" fmla="*/ 30 h 36"/>
                  <a:gd name="T32" fmla="*/ 6 w 18"/>
                  <a:gd name="T33" fmla="*/ 24 h 36"/>
                  <a:gd name="T34" fmla="*/ 6 w 18"/>
                  <a:gd name="T35" fmla="*/ 30 h 36"/>
                  <a:gd name="T36" fmla="*/ 0 w 18"/>
                  <a:gd name="T37" fmla="*/ 24 h 36"/>
                  <a:gd name="T38" fmla="*/ 0 w 18"/>
                  <a:gd name="T39" fmla="*/ 18 h 36"/>
                  <a:gd name="T40" fmla="*/ 0 w 18"/>
                  <a:gd name="T41" fmla="*/ 12 h 36"/>
                  <a:gd name="T42" fmla="*/ 0 w 18"/>
                  <a:gd name="T43" fmla="*/ 6 h 36"/>
                  <a:gd name="T44" fmla="*/ 0 w 18"/>
                  <a:gd name="T45" fmla="*/ 12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8"/>
                  <a:gd name="T70" fmla="*/ 0 h 36"/>
                  <a:gd name="T71" fmla="*/ 18 w 18"/>
                  <a:gd name="T72" fmla="*/ 36 h 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2" name="Freeform 60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auto">
            <a:xfrm>
              <a:off x="3279" y="2407"/>
              <a:ext cx="81" cy="76"/>
            </a:xfrm>
            <a:custGeom>
              <a:avLst/>
              <a:gdLst>
                <a:gd name="T0" fmla="*/ 42 w 96"/>
                <a:gd name="T1" fmla="*/ 18 h 90"/>
                <a:gd name="T2" fmla="*/ 48 w 96"/>
                <a:gd name="T3" fmla="*/ 12 h 90"/>
                <a:gd name="T4" fmla="*/ 48 w 96"/>
                <a:gd name="T5" fmla="*/ 24 h 90"/>
                <a:gd name="T6" fmla="*/ 54 w 96"/>
                <a:gd name="T7" fmla="*/ 18 h 90"/>
                <a:gd name="T8" fmla="*/ 60 w 96"/>
                <a:gd name="T9" fmla="*/ 12 h 90"/>
                <a:gd name="T10" fmla="*/ 66 w 96"/>
                <a:gd name="T11" fmla="*/ 6 h 90"/>
                <a:gd name="T12" fmla="*/ 72 w 96"/>
                <a:gd name="T13" fmla="*/ 0 h 90"/>
                <a:gd name="T14" fmla="*/ 78 w 96"/>
                <a:gd name="T15" fmla="*/ 6 h 90"/>
                <a:gd name="T16" fmla="*/ 84 w 96"/>
                <a:gd name="T17" fmla="*/ 12 h 90"/>
                <a:gd name="T18" fmla="*/ 90 w 96"/>
                <a:gd name="T19" fmla="*/ 18 h 90"/>
                <a:gd name="T20" fmla="*/ 96 w 96"/>
                <a:gd name="T21" fmla="*/ 30 h 90"/>
                <a:gd name="T22" fmla="*/ 96 w 96"/>
                <a:gd name="T23" fmla="*/ 42 h 90"/>
                <a:gd name="T24" fmla="*/ 90 w 96"/>
                <a:gd name="T25" fmla="*/ 48 h 90"/>
                <a:gd name="T26" fmla="*/ 96 w 96"/>
                <a:gd name="T27" fmla="*/ 54 h 90"/>
                <a:gd name="T28" fmla="*/ 96 w 96"/>
                <a:gd name="T29" fmla="*/ 66 h 90"/>
                <a:gd name="T30" fmla="*/ 84 w 96"/>
                <a:gd name="T31" fmla="*/ 72 h 90"/>
                <a:gd name="T32" fmla="*/ 84 w 96"/>
                <a:gd name="T33" fmla="*/ 72 h 90"/>
                <a:gd name="T34" fmla="*/ 78 w 96"/>
                <a:gd name="T35" fmla="*/ 66 h 90"/>
                <a:gd name="T36" fmla="*/ 66 w 96"/>
                <a:gd name="T37" fmla="*/ 66 h 90"/>
                <a:gd name="T38" fmla="*/ 54 w 96"/>
                <a:gd name="T39" fmla="*/ 66 h 90"/>
                <a:gd name="T40" fmla="*/ 48 w 96"/>
                <a:gd name="T41" fmla="*/ 72 h 90"/>
                <a:gd name="T42" fmla="*/ 48 w 96"/>
                <a:gd name="T43" fmla="*/ 84 h 90"/>
                <a:gd name="T44" fmla="*/ 42 w 96"/>
                <a:gd name="T45" fmla="*/ 90 h 90"/>
                <a:gd name="T46" fmla="*/ 42 w 96"/>
                <a:gd name="T47" fmla="*/ 90 h 90"/>
                <a:gd name="T48" fmla="*/ 30 w 96"/>
                <a:gd name="T49" fmla="*/ 90 h 90"/>
                <a:gd name="T50" fmla="*/ 18 w 96"/>
                <a:gd name="T51" fmla="*/ 84 h 90"/>
                <a:gd name="T52" fmla="*/ 18 w 96"/>
                <a:gd name="T53" fmla="*/ 84 h 90"/>
                <a:gd name="T54" fmla="*/ 12 w 96"/>
                <a:gd name="T55" fmla="*/ 78 h 90"/>
                <a:gd name="T56" fmla="*/ 6 w 96"/>
                <a:gd name="T57" fmla="*/ 84 h 90"/>
                <a:gd name="T58" fmla="*/ 0 w 96"/>
                <a:gd name="T59" fmla="*/ 78 h 90"/>
                <a:gd name="T60" fmla="*/ 0 w 96"/>
                <a:gd name="T61" fmla="*/ 66 h 90"/>
                <a:gd name="T62" fmla="*/ 6 w 96"/>
                <a:gd name="T63" fmla="*/ 60 h 90"/>
                <a:gd name="T64" fmla="*/ 12 w 96"/>
                <a:gd name="T65" fmla="*/ 54 h 90"/>
                <a:gd name="T66" fmla="*/ 12 w 96"/>
                <a:gd name="T67" fmla="*/ 42 h 90"/>
                <a:gd name="T68" fmla="*/ 18 w 96"/>
                <a:gd name="T69" fmla="*/ 36 h 90"/>
                <a:gd name="T70" fmla="*/ 18 w 96"/>
                <a:gd name="T71" fmla="*/ 24 h 90"/>
                <a:gd name="T72" fmla="*/ 30 w 96"/>
                <a:gd name="T73" fmla="*/ 24 h 90"/>
                <a:gd name="T74" fmla="*/ 36 w 96"/>
                <a:gd name="T75" fmla="*/ 18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6"/>
                <a:gd name="T115" fmla="*/ 0 h 90"/>
                <a:gd name="T116" fmla="*/ 96 w 96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61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4477" y="3207"/>
              <a:ext cx="21" cy="26"/>
            </a:xfrm>
            <a:custGeom>
              <a:avLst/>
              <a:gdLst>
                <a:gd name="T0" fmla="*/ 12 w 24"/>
                <a:gd name="T1" fmla="*/ 0 h 30"/>
                <a:gd name="T2" fmla="*/ 18 w 24"/>
                <a:gd name="T3" fmla="*/ 0 h 30"/>
                <a:gd name="T4" fmla="*/ 18 w 24"/>
                <a:gd name="T5" fmla="*/ 6 h 30"/>
                <a:gd name="T6" fmla="*/ 24 w 24"/>
                <a:gd name="T7" fmla="*/ 6 h 30"/>
                <a:gd name="T8" fmla="*/ 24 w 24"/>
                <a:gd name="T9" fmla="*/ 12 h 30"/>
                <a:gd name="T10" fmla="*/ 24 w 24"/>
                <a:gd name="T11" fmla="*/ 6 h 30"/>
                <a:gd name="T12" fmla="*/ 24 w 24"/>
                <a:gd name="T13" fmla="*/ 12 h 30"/>
                <a:gd name="T14" fmla="*/ 24 w 24"/>
                <a:gd name="T15" fmla="*/ 18 h 30"/>
                <a:gd name="T16" fmla="*/ 18 w 24"/>
                <a:gd name="T17" fmla="*/ 18 h 30"/>
                <a:gd name="T18" fmla="*/ 18 w 24"/>
                <a:gd name="T19" fmla="*/ 24 h 30"/>
                <a:gd name="T20" fmla="*/ 12 w 24"/>
                <a:gd name="T21" fmla="*/ 24 h 30"/>
                <a:gd name="T22" fmla="*/ 12 w 24"/>
                <a:gd name="T23" fmla="*/ 30 h 30"/>
                <a:gd name="T24" fmla="*/ 6 w 24"/>
                <a:gd name="T25" fmla="*/ 24 h 30"/>
                <a:gd name="T26" fmla="*/ 0 w 24"/>
                <a:gd name="T27" fmla="*/ 24 h 30"/>
                <a:gd name="T28" fmla="*/ 6 w 24"/>
                <a:gd name="T29" fmla="*/ 24 h 30"/>
                <a:gd name="T30" fmla="*/ 0 w 24"/>
                <a:gd name="T31" fmla="*/ 18 h 30"/>
                <a:gd name="T32" fmla="*/ 6 w 24"/>
                <a:gd name="T33" fmla="*/ 18 h 30"/>
                <a:gd name="T34" fmla="*/ 0 w 24"/>
                <a:gd name="T35" fmla="*/ 18 h 30"/>
                <a:gd name="T36" fmla="*/ 6 w 24"/>
                <a:gd name="T37" fmla="*/ 18 h 30"/>
                <a:gd name="T38" fmla="*/ 0 w 24"/>
                <a:gd name="T39" fmla="*/ 18 h 30"/>
                <a:gd name="T40" fmla="*/ 6 w 24"/>
                <a:gd name="T41" fmla="*/ 18 h 30"/>
                <a:gd name="T42" fmla="*/ 0 w 24"/>
                <a:gd name="T43" fmla="*/ 18 h 30"/>
                <a:gd name="T44" fmla="*/ 6 w 24"/>
                <a:gd name="T45" fmla="*/ 12 h 30"/>
                <a:gd name="T46" fmla="*/ 12 w 24"/>
                <a:gd name="T47" fmla="*/ 6 h 30"/>
                <a:gd name="T48" fmla="*/ 12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"/>
                <a:gd name="T76" fmla="*/ 0 h 30"/>
                <a:gd name="T77" fmla="*/ 24 w 24"/>
                <a:gd name="T78" fmla="*/ 30 h 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62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4391" y="3243"/>
              <a:ext cx="25" cy="25"/>
            </a:xfrm>
            <a:custGeom>
              <a:avLst/>
              <a:gdLst>
                <a:gd name="T0" fmla="*/ 0 w 30"/>
                <a:gd name="T1" fmla="*/ 6 h 30"/>
                <a:gd name="T2" fmla="*/ 6 w 30"/>
                <a:gd name="T3" fmla="*/ 6 h 30"/>
                <a:gd name="T4" fmla="*/ 6 w 30"/>
                <a:gd name="T5" fmla="*/ 0 h 30"/>
                <a:gd name="T6" fmla="*/ 12 w 30"/>
                <a:gd name="T7" fmla="*/ 0 h 30"/>
                <a:gd name="T8" fmla="*/ 18 w 30"/>
                <a:gd name="T9" fmla="*/ 0 h 30"/>
                <a:gd name="T10" fmla="*/ 18 w 30"/>
                <a:gd name="T11" fmla="*/ 6 h 30"/>
                <a:gd name="T12" fmla="*/ 24 w 30"/>
                <a:gd name="T13" fmla="*/ 6 h 30"/>
                <a:gd name="T14" fmla="*/ 24 w 30"/>
                <a:gd name="T15" fmla="*/ 12 h 30"/>
                <a:gd name="T16" fmla="*/ 30 w 30"/>
                <a:gd name="T17" fmla="*/ 18 h 30"/>
                <a:gd name="T18" fmla="*/ 30 w 30"/>
                <a:gd name="T19" fmla="*/ 24 h 30"/>
                <a:gd name="T20" fmla="*/ 24 w 30"/>
                <a:gd name="T21" fmla="*/ 24 h 30"/>
                <a:gd name="T22" fmla="*/ 18 w 30"/>
                <a:gd name="T23" fmla="*/ 30 h 30"/>
                <a:gd name="T24" fmla="*/ 18 w 30"/>
                <a:gd name="T25" fmla="*/ 24 h 30"/>
                <a:gd name="T26" fmla="*/ 18 w 30"/>
                <a:gd name="T27" fmla="*/ 30 h 30"/>
                <a:gd name="T28" fmla="*/ 18 w 30"/>
                <a:gd name="T29" fmla="*/ 24 h 30"/>
                <a:gd name="T30" fmla="*/ 12 w 30"/>
                <a:gd name="T31" fmla="*/ 24 h 30"/>
                <a:gd name="T32" fmla="*/ 6 w 30"/>
                <a:gd name="T33" fmla="*/ 24 h 30"/>
                <a:gd name="T34" fmla="*/ 6 w 30"/>
                <a:gd name="T35" fmla="*/ 18 h 30"/>
                <a:gd name="T36" fmla="*/ 0 w 30"/>
                <a:gd name="T37" fmla="*/ 18 h 30"/>
                <a:gd name="T38" fmla="*/ 0 w 30"/>
                <a:gd name="T39" fmla="*/ 12 h 30"/>
                <a:gd name="T40" fmla="*/ 0 w 30"/>
                <a:gd name="T41" fmla="*/ 6 h 30"/>
                <a:gd name="T42" fmla="*/ 6 w 30"/>
                <a:gd name="T43" fmla="*/ 6 h 30"/>
                <a:gd name="T44" fmla="*/ 0 w 30"/>
                <a:gd name="T45" fmla="*/ 6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30"/>
                <a:gd name="T71" fmla="*/ 30 w 30"/>
                <a:gd name="T72" fmla="*/ 30 h 3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5" name="Group 63"/>
            <p:cNvGrpSpPr>
              <a:grpSpLocks/>
            </p:cNvGrpSpPr>
            <p:nvPr/>
          </p:nvGrpSpPr>
          <p:grpSpPr bwMode="auto">
            <a:xfrm>
              <a:off x="4396" y="2524"/>
              <a:ext cx="40" cy="143"/>
              <a:chOff x="4396" y="2524"/>
              <a:chExt cx="40" cy="143"/>
            </a:xfrm>
            <a:grpFill/>
          </p:grpSpPr>
          <p:sp>
            <p:nvSpPr>
              <p:cNvPr id="157" name="Freeform 64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0 w 6"/>
                  <a:gd name="T5" fmla="*/ 6 h 12"/>
                  <a:gd name="T6" fmla="*/ 6 w 6"/>
                  <a:gd name="T7" fmla="*/ 0 h 12"/>
                  <a:gd name="T8" fmla="*/ 6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8" name="Freeform 65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6 w 6"/>
                  <a:gd name="T2" fmla="*/ 0 w 6"/>
                  <a:gd name="T3" fmla="*/ 0 60000 65536"/>
                  <a:gd name="T4" fmla="*/ 0 60000 65536"/>
                  <a:gd name="T5" fmla="*/ 0 60000 65536"/>
                  <a:gd name="T6" fmla="*/ 0 w 6"/>
                  <a:gd name="T7" fmla="*/ 6 w 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9" name="Freeform 66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0" name="Freeform 67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1" name="Freeform 68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2" name="Freeform 69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3" name="Freeform 70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46" name="Group 71"/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989" y="1637"/>
              <a:ext cx="113" cy="102"/>
              <a:chOff x="989" y="1637"/>
              <a:chExt cx="113" cy="102"/>
            </a:xfrm>
            <a:grpFill/>
          </p:grpSpPr>
          <p:sp>
            <p:nvSpPr>
              <p:cNvPr id="147" name="Freeform 72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056" y="1718"/>
                <a:ext cx="15" cy="16"/>
              </a:xfrm>
              <a:custGeom>
                <a:avLst/>
                <a:gdLst>
                  <a:gd name="T0" fmla="*/ 0 w 18"/>
                  <a:gd name="T1" fmla="*/ 12 h 18"/>
                  <a:gd name="T2" fmla="*/ 0 w 18"/>
                  <a:gd name="T3" fmla="*/ 6 h 18"/>
                  <a:gd name="T4" fmla="*/ 0 w 18"/>
                  <a:gd name="T5" fmla="*/ 0 h 18"/>
                  <a:gd name="T6" fmla="*/ 6 w 18"/>
                  <a:gd name="T7" fmla="*/ 0 h 18"/>
                  <a:gd name="T8" fmla="*/ 0 w 18"/>
                  <a:gd name="T9" fmla="*/ 0 h 18"/>
                  <a:gd name="T10" fmla="*/ 6 w 18"/>
                  <a:gd name="T11" fmla="*/ 0 h 18"/>
                  <a:gd name="T12" fmla="*/ 6 w 18"/>
                  <a:gd name="T13" fmla="*/ 6 h 18"/>
                  <a:gd name="T14" fmla="*/ 6 w 18"/>
                  <a:gd name="T15" fmla="*/ 0 h 18"/>
                  <a:gd name="T16" fmla="*/ 6 w 18"/>
                  <a:gd name="T17" fmla="*/ 6 h 18"/>
                  <a:gd name="T18" fmla="*/ 12 w 18"/>
                  <a:gd name="T19" fmla="*/ 6 h 18"/>
                  <a:gd name="T20" fmla="*/ 12 w 18"/>
                  <a:gd name="T21" fmla="*/ 12 h 18"/>
                  <a:gd name="T22" fmla="*/ 18 w 18"/>
                  <a:gd name="T23" fmla="*/ 12 h 18"/>
                  <a:gd name="T24" fmla="*/ 12 w 18"/>
                  <a:gd name="T25" fmla="*/ 12 h 18"/>
                  <a:gd name="T26" fmla="*/ 18 w 18"/>
                  <a:gd name="T27" fmla="*/ 12 h 18"/>
                  <a:gd name="T28" fmla="*/ 18 w 18"/>
                  <a:gd name="T29" fmla="*/ 18 h 18"/>
                  <a:gd name="T30" fmla="*/ 12 w 18"/>
                  <a:gd name="T31" fmla="*/ 12 h 18"/>
                  <a:gd name="T32" fmla="*/ 12 w 18"/>
                  <a:gd name="T33" fmla="*/ 18 h 18"/>
                  <a:gd name="T34" fmla="*/ 6 w 18"/>
                  <a:gd name="T35" fmla="*/ 18 h 18"/>
                  <a:gd name="T36" fmla="*/ 0 w 18"/>
                  <a:gd name="T37" fmla="*/ 18 h 18"/>
                  <a:gd name="T38" fmla="*/ 0 w 18"/>
                  <a:gd name="T39" fmla="*/ 12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18"/>
                  <a:gd name="T62" fmla="*/ 18 w 18"/>
                  <a:gd name="T63" fmla="*/ 18 h 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18">
                    <a:moveTo>
                      <a:pt x="0" y="1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8" name="Freeform 73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00" y="1647"/>
                <a:ext cx="10" cy="10"/>
              </a:xfrm>
              <a:custGeom>
                <a:avLst/>
                <a:gdLst>
                  <a:gd name="T0" fmla="*/ 6 w 12"/>
                  <a:gd name="T1" fmla="*/ 6 h 12"/>
                  <a:gd name="T2" fmla="*/ 6 w 12"/>
                  <a:gd name="T3" fmla="*/ 0 h 12"/>
                  <a:gd name="T4" fmla="*/ 6 w 12"/>
                  <a:gd name="T5" fmla="*/ 6 h 12"/>
                  <a:gd name="T6" fmla="*/ 6 w 12"/>
                  <a:gd name="T7" fmla="*/ 0 h 12"/>
                  <a:gd name="T8" fmla="*/ 6 w 12"/>
                  <a:gd name="T9" fmla="*/ 6 h 12"/>
                  <a:gd name="T10" fmla="*/ 12 w 12"/>
                  <a:gd name="T11" fmla="*/ 6 h 12"/>
                  <a:gd name="T12" fmla="*/ 6 w 12"/>
                  <a:gd name="T13" fmla="*/ 6 h 12"/>
                  <a:gd name="T14" fmla="*/ 6 w 12"/>
                  <a:gd name="T15" fmla="*/ 12 h 12"/>
                  <a:gd name="T16" fmla="*/ 0 w 12"/>
                  <a:gd name="T17" fmla="*/ 12 h 12"/>
                  <a:gd name="T18" fmla="*/ 0 w 12"/>
                  <a:gd name="T19" fmla="*/ 6 h 12"/>
                  <a:gd name="T20" fmla="*/ 6 w 12"/>
                  <a:gd name="T21" fmla="*/ 6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12"/>
                  <a:gd name="T35" fmla="*/ 12 w 12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12">
                    <a:moveTo>
                      <a:pt x="6" y="6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9" name="Rectangle 74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76" y="1718"/>
                <a:ext cx="5" cy="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0" name="Freeform 75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10" y="1652"/>
                <a:ext cx="5" cy="5"/>
              </a:xfrm>
              <a:custGeom>
                <a:avLst/>
                <a:gdLst>
                  <a:gd name="T0" fmla="*/ 6 w 6"/>
                  <a:gd name="T1" fmla="*/ 6 h 6"/>
                  <a:gd name="T2" fmla="*/ 0 w 6"/>
                  <a:gd name="T3" fmla="*/ 6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1" name="Freeform 76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989" y="1637"/>
                <a:ext cx="16" cy="15"/>
              </a:xfrm>
              <a:custGeom>
                <a:avLst/>
                <a:gdLst>
                  <a:gd name="T0" fmla="*/ 18 w 18"/>
                  <a:gd name="T1" fmla="*/ 6 h 18"/>
                  <a:gd name="T2" fmla="*/ 12 w 18"/>
                  <a:gd name="T3" fmla="*/ 12 h 18"/>
                  <a:gd name="T4" fmla="*/ 6 w 18"/>
                  <a:gd name="T5" fmla="*/ 12 h 18"/>
                  <a:gd name="T6" fmla="*/ 6 w 18"/>
                  <a:gd name="T7" fmla="*/ 18 h 18"/>
                  <a:gd name="T8" fmla="*/ 6 w 18"/>
                  <a:gd name="T9" fmla="*/ 12 h 18"/>
                  <a:gd name="T10" fmla="*/ 6 w 18"/>
                  <a:gd name="T11" fmla="*/ 18 h 18"/>
                  <a:gd name="T12" fmla="*/ 6 w 18"/>
                  <a:gd name="T13" fmla="*/ 12 h 18"/>
                  <a:gd name="T14" fmla="*/ 0 w 18"/>
                  <a:gd name="T15" fmla="*/ 18 h 18"/>
                  <a:gd name="T16" fmla="*/ 0 w 18"/>
                  <a:gd name="T17" fmla="*/ 12 h 18"/>
                  <a:gd name="T18" fmla="*/ 0 w 18"/>
                  <a:gd name="T19" fmla="*/ 6 h 18"/>
                  <a:gd name="T20" fmla="*/ 6 w 18"/>
                  <a:gd name="T21" fmla="*/ 6 h 18"/>
                  <a:gd name="T22" fmla="*/ 6 w 18"/>
                  <a:gd name="T23" fmla="*/ 0 h 18"/>
                  <a:gd name="T24" fmla="*/ 12 w 18"/>
                  <a:gd name="T25" fmla="*/ 0 h 18"/>
                  <a:gd name="T26" fmla="*/ 12 w 18"/>
                  <a:gd name="T27" fmla="*/ 6 h 18"/>
                  <a:gd name="T28" fmla="*/ 18 w 18"/>
                  <a:gd name="T29" fmla="*/ 6 h 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8"/>
                  <a:gd name="T46" fmla="*/ 0 h 18"/>
                  <a:gd name="T47" fmla="*/ 18 w 18"/>
                  <a:gd name="T48" fmla="*/ 18 h 1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8" h="1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2" name="Freeform 77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015" y="1734"/>
                <a:ext cx="0" cy="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  <a:gd name="T3" fmla="*/ 0 60000 65536"/>
                  <a:gd name="T4" fmla="*/ 0 60000 65536"/>
                  <a:gd name="T5" fmla="*/ 0 60000 65536"/>
                  <a:gd name="T6" fmla="*/ 0 h 6"/>
                  <a:gd name="T7" fmla="*/ 6 h 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3" name="Freeform 78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25" y="1657"/>
                <a:ext cx="20" cy="10"/>
              </a:xfrm>
              <a:custGeom>
                <a:avLst/>
                <a:gdLst>
                  <a:gd name="T0" fmla="*/ 6 w 24"/>
                  <a:gd name="T1" fmla="*/ 6 h 12"/>
                  <a:gd name="T2" fmla="*/ 12 w 24"/>
                  <a:gd name="T3" fmla="*/ 6 h 12"/>
                  <a:gd name="T4" fmla="*/ 18 w 24"/>
                  <a:gd name="T5" fmla="*/ 6 h 12"/>
                  <a:gd name="T6" fmla="*/ 24 w 24"/>
                  <a:gd name="T7" fmla="*/ 6 h 12"/>
                  <a:gd name="T8" fmla="*/ 24 w 24"/>
                  <a:gd name="T9" fmla="*/ 12 h 12"/>
                  <a:gd name="T10" fmla="*/ 18 w 24"/>
                  <a:gd name="T11" fmla="*/ 6 h 12"/>
                  <a:gd name="T12" fmla="*/ 18 w 24"/>
                  <a:gd name="T13" fmla="*/ 12 h 12"/>
                  <a:gd name="T14" fmla="*/ 18 w 24"/>
                  <a:gd name="T15" fmla="*/ 6 h 12"/>
                  <a:gd name="T16" fmla="*/ 12 w 24"/>
                  <a:gd name="T17" fmla="*/ 6 h 12"/>
                  <a:gd name="T18" fmla="*/ 12 w 24"/>
                  <a:gd name="T19" fmla="*/ 12 h 12"/>
                  <a:gd name="T20" fmla="*/ 6 w 24"/>
                  <a:gd name="T21" fmla="*/ 12 h 12"/>
                  <a:gd name="T22" fmla="*/ 6 w 24"/>
                  <a:gd name="T23" fmla="*/ 6 h 12"/>
                  <a:gd name="T24" fmla="*/ 0 w 24"/>
                  <a:gd name="T25" fmla="*/ 6 h 12"/>
                  <a:gd name="T26" fmla="*/ 6 w 24"/>
                  <a:gd name="T27" fmla="*/ 6 h 12"/>
                  <a:gd name="T28" fmla="*/ 6 w 24"/>
                  <a:gd name="T29" fmla="*/ 0 h 12"/>
                  <a:gd name="T30" fmla="*/ 6 w 24"/>
                  <a:gd name="T31" fmla="*/ 6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4"/>
                  <a:gd name="T49" fmla="*/ 0 h 12"/>
                  <a:gd name="T50" fmla="*/ 24 w 24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4" h="12">
                    <a:moveTo>
                      <a:pt x="6" y="6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4" name="Freeform 79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86" y="1652"/>
                <a:ext cx="5" cy="10"/>
              </a:xfrm>
              <a:custGeom>
                <a:avLst/>
                <a:gdLst>
                  <a:gd name="T0" fmla="*/ 6 w 6"/>
                  <a:gd name="T1" fmla="*/ 0 h 12"/>
                  <a:gd name="T2" fmla="*/ 6 w 6"/>
                  <a:gd name="T3" fmla="*/ 6 h 12"/>
                  <a:gd name="T4" fmla="*/ 6 w 6"/>
                  <a:gd name="T5" fmla="*/ 12 h 12"/>
                  <a:gd name="T6" fmla="*/ 6 w 6"/>
                  <a:gd name="T7" fmla="*/ 6 h 12"/>
                  <a:gd name="T8" fmla="*/ 0 w 6"/>
                  <a:gd name="T9" fmla="*/ 6 h 12"/>
                  <a:gd name="T10" fmla="*/ 0 w 6"/>
                  <a:gd name="T11" fmla="*/ 0 h 12"/>
                  <a:gd name="T12" fmla="*/ 6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2"/>
                  <a:gd name="T23" fmla="*/ 6 w 6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2">
                    <a:moveTo>
                      <a:pt x="6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" name="Freeform 80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25" y="1728"/>
                <a:ext cx="10" cy="11"/>
              </a:xfrm>
              <a:custGeom>
                <a:avLst/>
                <a:gdLst>
                  <a:gd name="T0" fmla="*/ 0 w 12"/>
                  <a:gd name="T1" fmla="*/ 0 h 12"/>
                  <a:gd name="T2" fmla="*/ 6 w 12"/>
                  <a:gd name="T3" fmla="*/ 0 h 12"/>
                  <a:gd name="T4" fmla="*/ 6 w 12"/>
                  <a:gd name="T5" fmla="*/ 6 h 12"/>
                  <a:gd name="T6" fmla="*/ 12 w 12"/>
                  <a:gd name="T7" fmla="*/ 6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2"/>
                  <a:gd name="T26" fmla="*/ 12 w 1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2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" name="Freeform 81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91" y="1677"/>
                <a:ext cx="11" cy="11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2"/>
                  <a:gd name="T29" fmla="*/ 12 w 12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</p:grp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53" t="63284" r="7732" b="2902"/>
          <a:stretch/>
        </p:blipFill>
        <p:spPr>
          <a:xfrm>
            <a:off x="2345817" y="1589009"/>
            <a:ext cx="4864332" cy="4864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540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11"/>
          <p:cNvGrpSpPr/>
          <p:nvPr/>
        </p:nvGrpSpPr>
        <p:grpSpPr>
          <a:xfrm>
            <a:off x="0" y="0"/>
            <a:ext cx="9135198" cy="1476051"/>
            <a:chOff x="8802" y="-2"/>
            <a:chExt cx="9135198" cy="1476051"/>
          </a:xfrm>
        </p:grpSpPr>
        <p:pic>
          <p:nvPicPr>
            <p:cNvPr id="1027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636"/>
            <a:stretch/>
          </p:blipFill>
          <p:spPr bwMode="auto">
            <a:xfrm>
              <a:off x="8802" y="0"/>
              <a:ext cx="3325091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3" descr="C:\Users\chapelle\Desktop\Capturee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045"/>
            <a:stretch/>
          </p:blipFill>
          <p:spPr bwMode="auto">
            <a:xfrm>
              <a:off x="3333893" y="-2"/>
              <a:ext cx="5810107" cy="14760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25963" y="404664"/>
            <a:ext cx="4248472" cy="965969"/>
          </a:xfrm>
        </p:spPr>
        <p:txBody>
          <a:bodyPr>
            <a:normAutofit fontScale="90000"/>
          </a:bodyPr>
          <a:lstStyle/>
          <a:p>
            <a:pPr algn="r"/>
            <a:r>
              <a:rPr lang="fr-FR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COTE D’IVOIR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6" name="Image 15" descr="Capture d’écra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0919"/>
            <a:ext cx="9135198" cy="27446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93"/>
          <a:stretch/>
        </p:blipFill>
        <p:spPr>
          <a:xfrm>
            <a:off x="0" y="1473477"/>
            <a:ext cx="9135198" cy="5140463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8"/>
          <a:stretch/>
        </p:blipFill>
        <p:spPr>
          <a:xfrm>
            <a:off x="8802" y="1412776"/>
            <a:ext cx="9126396" cy="5211711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775299"/>
            <a:ext cx="5004048" cy="334981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2"/>
          <a:stretch/>
        </p:blipFill>
        <p:spPr>
          <a:xfrm>
            <a:off x="179512" y="1775296"/>
            <a:ext cx="5030172" cy="3957959"/>
          </a:xfrm>
          <a:prstGeom prst="rect">
            <a:avLst/>
          </a:prstGeom>
        </p:spPr>
      </p:pic>
      <p:pic>
        <p:nvPicPr>
          <p:cNvPr id="8" name="Image 7" descr="Abidjan 055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402838" y="1749363"/>
            <a:ext cx="3571597" cy="476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48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W5fIZJjUOjuNSKSII1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3Y0aPZEKG.Bg6pVTFr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nj1hcIEO3pWl14US6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28b7kjwk205SEnJReZA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8mQnWfUOGhT_wBwiAq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0HxDXCUS5.hWYvy5ve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5.Fjt.UaDpqmzdU9t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KMf_MYBEOXwhz_CyGkG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i1KKvTmkaNn7a3On6N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Gd95880KvGpYk9w5n4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HJH_kCkmh85jKB52i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NSl.K.UyRnGUgLeoe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SduOxUzUi4_14ZUqDoF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1uwWmbUGOcpB4CAbDi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pCbBz90e1pjEMf08I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_6nEn59EaTvesEK4Xq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ILxXXc0ev4gZ3A6m_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dD4VL_0m_FwPm1bC0u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DVsAavcUSxssL8M6Yd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1syuewpEKZy7Rk8_Urn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0jucuRBkqWMnSIhMozB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GXFrB0EW9h5NtTMryw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a7NkSXUOHRqY4d.tui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qZwegFkyhLAMeyayA7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yZF2RVUSHTa7kRX5T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gSygE_USdPIJSW1zo2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Y1L438lU2tnj2Zfo7ZI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mRtaciYkGS8FIsnfA54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W5fIZJjUOjuNSKSII13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OS2KZg0CczEsiGSYky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tZCZ_cUeL7j8mwlncQ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SRJVlpHU.c3IXu7LWL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MUSQJkEqJVullreZO4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WH463dyUWFEoBV0FG9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1XCLnAsUaA_ef1jLqI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fn1wVXsk638JHOEYwUN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2Hf0Mdq0y2icaEWtMX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3Y0aPZEKG.Bg6pVTFr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nj1hcIEO3pWl14US6u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28b7kjwk205SEnJReZA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8mQnWfUOGhT_wBwiAq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0HxDXCUS5.hWYvy5ve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5.Fjt.UaDpqmzdU9tp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KMf_MYBEOXwhz_CyGk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i1KKvTmkaNn7a3On6N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Gd95880KvGpYk9w5n4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HJH_kCkmh85jKB52iK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NSl.K.UyRnGUgLeoei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SduOxUzUi4_14ZUqDo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WH463dyUWFEoBV0FG9A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1uwWmbUGOcpB4CAbDi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pCbBz90e1pjEMf08Is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_6nEn59EaTvesEK4XqV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ILxXXc0ev4gZ3A6m_h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dD4VL_0m_FwPm1bC0u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DVsAavcUSxssL8M6Yd_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1syuewpEKZy7Rk8_Urn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0jucuRBkqWMnSIhMozB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GXFrB0EW9h5NtTMryw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a7NkSXUOHRqY4d.tu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1XCLnAsUaA_ef1jLqIV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qZwegFkyhLAMeyayA7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yZF2RVUSHTa7kRX5Tw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gSygE_USdPIJSW1zo2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Y1L438lU2tnj2Zfo7Z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mRtaciYkGS8FIsnfA54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fn1wVXsk638JHOEYwUN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W5fIZJjUOjuNSKSII13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2Hf0Mdq0y2icaEWtMXJ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OS2KZg0CczEsiGSYk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tZCZ_cUeL7j8mwlncQ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SRJVlpHU.c3IXu7LWLv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MUSQJkEqJVullreZO4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3Y0aPZEKG.Bg6pVTF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WH463dyUWFEoBV0FG9A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1XCLnAsUaA_ef1jLqIV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fn1wVXsk638JHOEYwU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nj1hcIEO3pWl14US6u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2Hf0Mdq0y2icaEWtMXJ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3Y0aPZEKG.Bg6pVTFr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nj1hcIEO3pWl14US6u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28b7kjwk205SEnJReZA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8mQnWfUOGhT_wBwiAq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0HxDXCUS5.hWYvy5ve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5.Fjt.UaDpqmzdU9t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KMf_MYBEOXwhz_CyGkG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i1KKvTmkaNn7a3On6NH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Gd95880KvGpYk9w5n4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HJH_kCkmh85jKB52iK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NSl.K.UyRnGUgLeoei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SduOxUzUi4_14ZUqDoF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1uwWmbUGOcpB4CAbDi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pCbBz90e1pjEMf08I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_6nEn59EaTvesEK4XqV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ILxXXc0ev4gZ3A6m_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dD4VL_0m_FwPm1bC0u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DVsAavcUSxssL8M6Yd_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1syuewpEKZy7Rk8_Urn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0jucuRBkqWMnSIhMozB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GXFrB0EW9h5NtTMryw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a7NkSXUOHRqY4d.tui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qZwegFkyhLAMeyayA7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yZF2RVUSHTa7kRX5Tw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gSygE_USdPIJSW1zo2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Y1L438lU2tnj2Zfo7Z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28b7kjwk205SEnJReZA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mRtaciYkGS8FIsnfA54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8mQnWfUOGhT_wBwiAq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0HxDXCUS5.hWYvy5ve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5.Fjt.UaDpqmzdU9t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KMf_MYBEOXwhz_CyGk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i1KKvTmkaNn7a3On6N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Gd95880KvGpYk9w5n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HJH_kCkmh85jKB52i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NSl.K.UyRnGUgLeoe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SduOxUzUi4_14ZUqDo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1uwWmbUGOcpB4CAbD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pCbBz90e1pjEMf08I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OS2KZg0CczEsiGSYk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_6nEn59EaTvesEK4Xq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ILxXXc0ev4gZ3A6m_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dD4VL_0m_FwPm1bC0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DVsAavcUSxssL8M6Yd_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1syuewpEKZy7Rk8_Ur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0jucuRBkqWMnSIhMoz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GXFrB0EW9h5NtTMry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a7NkSXUOHRqY4d.tu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qZwegFkyhLAMeyayA7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yZF2RVUSHTa7kRX5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gSygE_USdPIJSW1zo2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Y1L438lU2tnj2Zfo7Z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mRtaciYkGS8FIsnfA5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tZCZ_cUeL7j8mwlnc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W5fIZJjUOjuNSKSII13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SRJVlpHU.c3IXu7LWLv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OS2KZg0CczEsiGSYky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tZCZ_cUeL7j8mwlnc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SRJVlpHU.c3IXu7LWLv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MUSQJkEqJVullreZO4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MUSQJkEqJVullreZO4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WH463dyUWFEoBV0FG9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1XCLnAsUaA_ef1jLqI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fn1wVXsk638JHOEYwU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2Hf0Mdq0y2icaEWtMXJ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18</TotalTime>
  <Words>67</Words>
  <Application>Microsoft Office PowerPoint</Application>
  <PresentationFormat>Affichage à l'écran (4:3)</PresentationFormat>
  <Paragraphs>25</Paragraphs>
  <Slides>8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1" baseType="lpstr">
      <vt:lpstr>Arial</vt:lpstr>
      <vt:lpstr>Calibri</vt:lpstr>
      <vt:lpstr>Thème Office</vt:lpstr>
      <vt:lpstr>Présentation PowerPoint</vt:lpstr>
      <vt:lpstr>IMPLANTATIONS EN EUROPE</vt:lpstr>
      <vt:lpstr>NOS DOMAINES</vt:lpstr>
      <vt:lpstr>IMPLANTATIONS EN AFRIQUE</vt:lpstr>
      <vt:lpstr>ACTIVITES EN AFRIQUE</vt:lpstr>
      <vt:lpstr>IMPLANTATIONS EN AFRIQUE</vt:lpstr>
      <vt:lpstr>EN COTE D’IVOIRE</vt:lpstr>
      <vt:lpstr>EN COTE D’IVOIRE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Julie KUZIN</dc:creator>
  <cp:lastModifiedBy>Thierry MOREAU</cp:lastModifiedBy>
  <cp:revision>292</cp:revision>
  <cp:lastPrinted>2016-03-18T08:28:54Z</cp:lastPrinted>
  <dcterms:created xsi:type="dcterms:W3CDTF">2016-01-06T09:47:01Z</dcterms:created>
  <dcterms:modified xsi:type="dcterms:W3CDTF">2018-09-27T08:36:28Z</dcterms:modified>
</cp:coreProperties>
</file>